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4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6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7" r:id="rId2"/>
    <p:sldMasterId id="2147483788" r:id="rId3"/>
    <p:sldMasterId id="2147483800" r:id="rId4"/>
    <p:sldMasterId id="2147483812" r:id="rId5"/>
    <p:sldMasterId id="2147483825" r:id="rId6"/>
    <p:sldMasterId id="2147483851" r:id="rId7"/>
  </p:sldMasterIdLst>
  <p:notesMasterIdLst>
    <p:notesMasterId r:id="rId30"/>
  </p:notesMasterIdLst>
  <p:handoutMasterIdLst>
    <p:handoutMasterId r:id="rId31"/>
  </p:handoutMasterIdLst>
  <p:sldIdLst>
    <p:sldId id="1148" r:id="rId8"/>
    <p:sldId id="1149" r:id="rId9"/>
    <p:sldId id="277" r:id="rId10"/>
    <p:sldId id="936" r:id="rId11"/>
    <p:sldId id="262" r:id="rId12"/>
    <p:sldId id="258" r:id="rId13"/>
    <p:sldId id="275" r:id="rId14"/>
    <p:sldId id="256" r:id="rId15"/>
    <p:sldId id="261" r:id="rId16"/>
    <p:sldId id="1156" r:id="rId17"/>
    <p:sldId id="1157" r:id="rId18"/>
    <p:sldId id="1155" r:id="rId19"/>
    <p:sldId id="260" r:id="rId20"/>
    <p:sldId id="259" r:id="rId21"/>
    <p:sldId id="1135" r:id="rId22"/>
    <p:sldId id="1153" r:id="rId23"/>
    <p:sldId id="397" r:id="rId24"/>
    <p:sldId id="344" r:id="rId25"/>
    <p:sldId id="1142" r:id="rId26"/>
    <p:sldId id="1152" r:id="rId27"/>
    <p:sldId id="1145" r:id="rId28"/>
    <p:sldId id="854" r:id="rId29"/>
  </p:sldIdLst>
  <p:sldSz cx="12166600" cy="6845300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00CC"/>
    <a:srgbClr val="E3A009"/>
    <a:srgbClr val="FF3399"/>
    <a:srgbClr val="CC3399"/>
    <a:srgbClr val="9900CC"/>
    <a:srgbClr val="660066"/>
    <a:srgbClr val="CC6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129" autoAdjust="0"/>
    <p:restoredTop sz="96374" autoAdjust="0"/>
  </p:normalViewPr>
  <p:slideViewPr>
    <p:cSldViewPr>
      <p:cViewPr varScale="1">
        <p:scale>
          <a:sx n="110" d="100"/>
          <a:sy n="110" d="100"/>
        </p:scale>
        <p:origin x="864" y="114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34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Relationship Id="rId8" Type="http://schemas.openxmlformats.org/officeDocument/2006/relationships/slide" Target="slides/slid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00" cy="497253"/>
          </a:xfrm>
          <a:prstGeom prst="rect">
            <a:avLst/>
          </a:prstGeom>
        </p:spPr>
        <p:txBody>
          <a:bodyPr vert="horz" lIns="80431" tIns="40215" rIns="80431" bIns="40215" rtlCol="0"/>
          <a:lstStyle>
            <a:lvl1pPr algn="l">
              <a:defRPr sz="11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302" y="0"/>
            <a:ext cx="2945600" cy="497253"/>
          </a:xfrm>
          <a:prstGeom prst="rect">
            <a:avLst/>
          </a:prstGeom>
        </p:spPr>
        <p:txBody>
          <a:bodyPr vert="horz" lIns="80431" tIns="40215" rIns="80431" bIns="40215" rtlCol="0"/>
          <a:lstStyle>
            <a:lvl1pPr algn="r">
              <a:defRPr sz="1100"/>
            </a:lvl1pPr>
          </a:lstStyle>
          <a:p>
            <a:fld id="{04CAA048-BC7B-4D9C-A605-0D7AF43F73A1}" type="datetimeFigureOut">
              <a:rPr lang="ru-RU" smtClean="0"/>
              <a:t>23.12.2020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385"/>
            <a:ext cx="2945600" cy="497253"/>
          </a:xfrm>
          <a:prstGeom prst="rect">
            <a:avLst/>
          </a:prstGeom>
        </p:spPr>
        <p:txBody>
          <a:bodyPr vert="horz" lIns="80431" tIns="40215" rIns="80431" bIns="40215" rtlCol="0" anchor="b"/>
          <a:lstStyle>
            <a:lvl1pPr algn="l">
              <a:defRPr sz="11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302" y="9429385"/>
            <a:ext cx="2945600" cy="497253"/>
          </a:xfrm>
          <a:prstGeom prst="rect">
            <a:avLst/>
          </a:prstGeom>
        </p:spPr>
        <p:txBody>
          <a:bodyPr vert="horz" lIns="80431" tIns="40215" rIns="80431" bIns="40215" rtlCol="0" anchor="b"/>
          <a:lstStyle>
            <a:lvl1pPr algn="r">
              <a:defRPr sz="1100"/>
            </a:lvl1pPr>
          </a:lstStyle>
          <a:p>
            <a:fld id="{4E6599E4-8389-4C9D-8D6C-35EDC7811AF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520508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63365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440423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780067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.xml"/><Relationship Id="rId6" Type="http://schemas.openxmlformats.org/officeDocument/2006/relationships/image" Target="../media/image3.emf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2.xml"/><Relationship Id="rId4" Type="http://schemas.openxmlformats.org/officeDocument/2006/relationships/image" Target="../media/image6.emf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4.xml"/><Relationship Id="rId6" Type="http://schemas.openxmlformats.org/officeDocument/2006/relationships/image" Target="../media/image3.emf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5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6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7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9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0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4.xml"/><Relationship Id="rId4" Type="http://schemas.openxmlformats.org/officeDocument/2006/relationships/image" Target="../media/image6.emf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2971" y="2122043"/>
            <a:ext cx="10347007" cy="143751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5942" y="3833368"/>
            <a:ext cx="8521064" cy="17113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54E26B-AF99-4205-8B73-7DFF599E60B1}" type="datetime1">
              <a:rPr lang="ru-RU" smtClean="0"/>
              <a:t>23.12.2020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00480BD-BA0C-47F0-A03D-F87DDE8723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B9D1C32D-A73A-4441-9A54-D0230F2C0A6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6454" y="1822244"/>
            <a:ext cx="5170805" cy="434328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7F7B1CEF-11BA-4831-979C-9791AA9C8E9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59341" y="1822244"/>
            <a:ext cx="5170805" cy="434328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3B9FA18A-7D5D-4B76-AED4-0EBF2619B9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998DB0-1EFD-4F10-AC79-7BFEA6BD8E21}" type="datetime1">
              <a:rPr lang="ru-RU" smtClean="0"/>
              <a:t>23.12.2020</a:t>
            </a:fld>
            <a:endParaRPr lang="ru-RU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BB89FACD-77E0-4125-B2A4-1CE9EC08E8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A6C5D3AD-0AF9-4CA3-ADCF-DD6B950C46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54A1E0-1654-4A7F-AA48-6C9BE68E373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976745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3A5C6E7-F6B4-4755-8C90-637869334B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038" y="364449"/>
            <a:ext cx="10493693" cy="1323108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656DC8BB-9BA5-49C9-95F5-BB7999E6A78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039" y="1678050"/>
            <a:ext cx="5147042" cy="822386"/>
          </a:xfrm>
        </p:spPr>
        <p:txBody>
          <a:bodyPr anchor="b"/>
          <a:lstStyle>
            <a:lvl1pPr marL="0" indent="0">
              <a:buNone/>
              <a:defRPr sz="2395" b="1"/>
            </a:lvl1pPr>
            <a:lvl2pPr marL="456240" indent="0">
              <a:buNone/>
              <a:defRPr sz="1996" b="1"/>
            </a:lvl2pPr>
            <a:lvl3pPr marL="912480" indent="0">
              <a:buNone/>
              <a:defRPr sz="1796" b="1"/>
            </a:lvl3pPr>
            <a:lvl4pPr marL="1368720" indent="0">
              <a:buNone/>
              <a:defRPr sz="1597" b="1"/>
            </a:lvl4pPr>
            <a:lvl5pPr marL="1824960" indent="0">
              <a:buNone/>
              <a:defRPr sz="1597" b="1"/>
            </a:lvl5pPr>
            <a:lvl6pPr marL="2281199" indent="0">
              <a:buNone/>
              <a:defRPr sz="1597" b="1"/>
            </a:lvl6pPr>
            <a:lvl7pPr marL="2737439" indent="0">
              <a:buNone/>
              <a:defRPr sz="1597" b="1"/>
            </a:lvl7pPr>
            <a:lvl8pPr marL="3193679" indent="0">
              <a:buNone/>
              <a:defRPr sz="1597" b="1"/>
            </a:lvl8pPr>
            <a:lvl9pPr marL="3649919" indent="0">
              <a:buNone/>
              <a:defRPr sz="1597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79FF5709-A863-48EE-B3E5-C2743573D81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8039" y="2500436"/>
            <a:ext cx="5147042" cy="367776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1DAC9BF0-1359-4D8F-8494-19EF9DF582E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59341" y="1678050"/>
            <a:ext cx="5172390" cy="822386"/>
          </a:xfrm>
        </p:spPr>
        <p:txBody>
          <a:bodyPr anchor="b"/>
          <a:lstStyle>
            <a:lvl1pPr marL="0" indent="0">
              <a:buNone/>
              <a:defRPr sz="2395" b="1"/>
            </a:lvl1pPr>
            <a:lvl2pPr marL="456240" indent="0">
              <a:buNone/>
              <a:defRPr sz="1996" b="1"/>
            </a:lvl2pPr>
            <a:lvl3pPr marL="912480" indent="0">
              <a:buNone/>
              <a:defRPr sz="1796" b="1"/>
            </a:lvl3pPr>
            <a:lvl4pPr marL="1368720" indent="0">
              <a:buNone/>
              <a:defRPr sz="1597" b="1"/>
            </a:lvl4pPr>
            <a:lvl5pPr marL="1824960" indent="0">
              <a:buNone/>
              <a:defRPr sz="1597" b="1"/>
            </a:lvl5pPr>
            <a:lvl6pPr marL="2281199" indent="0">
              <a:buNone/>
              <a:defRPr sz="1597" b="1"/>
            </a:lvl6pPr>
            <a:lvl7pPr marL="2737439" indent="0">
              <a:buNone/>
              <a:defRPr sz="1597" b="1"/>
            </a:lvl7pPr>
            <a:lvl8pPr marL="3193679" indent="0">
              <a:buNone/>
              <a:defRPr sz="1597" b="1"/>
            </a:lvl8pPr>
            <a:lvl9pPr marL="3649919" indent="0">
              <a:buNone/>
              <a:defRPr sz="1597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2AD91C03-E18D-4A36-A605-E7B88C8B9C9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59341" y="2500436"/>
            <a:ext cx="5172390" cy="367776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D31D9EF0-532A-4FCA-A8B5-EB16B171AB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4D48AF-8FD8-42EC-B711-57801AEEFD4B}" type="datetime1">
              <a:rPr lang="ru-RU" smtClean="0"/>
              <a:t>23.12.2020</a:t>
            </a:fld>
            <a:endParaRPr lang="ru-RU" dirty="0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E5F9BDC2-EA63-44FC-8B61-C5333A75DA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7B4C87D3-9E74-46F5-B6C1-242FA3277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54A1E0-1654-4A7F-AA48-6C9BE68E373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85685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DF9F1A5-A5F3-4626-BF81-8F5582556D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2A46C426-DB84-401D-9F2E-47FC7BCD77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DB2C7B-4352-4FB9-8759-4B4CAE13FBC2}" type="datetime1">
              <a:rPr lang="ru-RU" smtClean="0"/>
              <a:t>23.12.2020</a:t>
            </a:fld>
            <a:endParaRPr lang="ru-RU" dirty="0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5C28507E-4FCB-422D-ABC2-FFEB0AA5AF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876CD009-CBE3-4BAA-B28B-0C523F2254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54A1E0-1654-4A7F-AA48-6C9BE68E373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238833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70153C62-97F8-4621-BF8B-D32C221AF5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93DBA9-5832-4EF6-8B26-8F6C38E282B1}" type="datetime1">
              <a:rPr lang="ru-RU" smtClean="0"/>
              <a:t>23.12.2020</a:t>
            </a:fld>
            <a:endParaRPr lang="ru-RU" dirty="0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FAB238B4-67CE-425F-8B42-C5B48314F4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52C4BB61-3DDA-4C54-A9F3-10800404B9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54A1E0-1654-4A7F-AA48-6C9BE68E373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052076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A9098B4-2F3A-4C77-95ED-350C3C6FE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039" y="456353"/>
            <a:ext cx="3924045" cy="1597237"/>
          </a:xfrm>
        </p:spPr>
        <p:txBody>
          <a:bodyPr anchor="b"/>
          <a:lstStyle>
            <a:lvl1pPr>
              <a:defRPr sz="3193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B3592A00-2292-40B5-84D3-D66696C1D6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2390" y="985597"/>
            <a:ext cx="6159341" cy="4864600"/>
          </a:xfrm>
        </p:spPr>
        <p:txBody>
          <a:bodyPr/>
          <a:lstStyle>
            <a:lvl1pPr>
              <a:defRPr sz="3193"/>
            </a:lvl1pPr>
            <a:lvl2pPr>
              <a:defRPr sz="2794"/>
            </a:lvl2pPr>
            <a:lvl3pPr>
              <a:defRPr sz="2395"/>
            </a:lvl3pPr>
            <a:lvl4pPr>
              <a:defRPr sz="1996"/>
            </a:lvl4pPr>
            <a:lvl5pPr>
              <a:defRPr sz="1996"/>
            </a:lvl5pPr>
            <a:lvl6pPr>
              <a:defRPr sz="1996"/>
            </a:lvl6pPr>
            <a:lvl7pPr>
              <a:defRPr sz="1996"/>
            </a:lvl7pPr>
            <a:lvl8pPr>
              <a:defRPr sz="1996"/>
            </a:lvl8pPr>
            <a:lvl9pPr>
              <a:defRPr sz="1996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19482C65-9147-46BB-8E17-50F0950DB39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8039" y="2053590"/>
            <a:ext cx="3924045" cy="3804530"/>
          </a:xfrm>
        </p:spPr>
        <p:txBody>
          <a:bodyPr/>
          <a:lstStyle>
            <a:lvl1pPr marL="0" indent="0">
              <a:buNone/>
              <a:defRPr sz="1597"/>
            </a:lvl1pPr>
            <a:lvl2pPr marL="456240" indent="0">
              <a:buNone/>
              <a:defRPr sz="1397"/>
            </a:lvl2pPr>
            <a:lvl3pPr marL="912480" indent="0">
              <a:buNone/>
              <a:defRPr sz="1197"/>
            </a:lvl3pPr>
            <a:lvl4pPr marL="1368720" indent="0">
              <a:buNone/>
              <a:defRPr sz="998"/>
            </a:lvl4pPr>
            <a:lvl5pPr marL="1824960" indent="0">
              <a:buNone/>
              <a:defRPr sz="998"/>
            </a:lvl5pPr>
            <a:lvl6pPr marL="2281199" indent="0">
              <a:buNone/>
              <a:defRPr sz="998"/>
            </a:lvl6pPr>
            <a:lvl7pPr marL="2737439" indent="0">
              <a:buNone/>
              <a:defRPr sz="998"/>
            </a:lvl7pPr>
            <a:lvl8pPr marL="3193679" indent="0">
              <a:buNone/>
              <a:defRPr sz="998"/>
            </a:lvl8pPr>
            <a:lvl9pPr marL="3649919" indent="0">
              <a:buNone/>
              <a:defRPr sz="998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1F6D0AE7-034A-434A-B957-2958529D66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BCC27-A43B-4413-8F54-79C50175C38C}" type="datetime1">
              <a:rPr lang="ru-RU" smtClean="0"/>
              <a:t>23.12.2020</a:t>
            </a:fld>
            <a:endParaRPr lang="ru-RU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6F8726F7-ACA7-436F-A895-A0529E1C8F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841F579B-E938-4F93-B55B-98595432DB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54A1E0-1654-4A7F-AA48-6C9BE68E373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881386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1E763CA-8E7B-49A7-8B5A-919FF8268D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039" y="456353"/>
            <a:ext cx="3924045" cy="1597237"/>
          </a:xfrm>
        </p:spPr>
        <p:txBody>
          <a:bodyPr anchor="b"/>
          <a:lstStyle>
            <a:lvl1pPr>
              <a:defRPr sz="3193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F237B0A1-673B-4D85-8FC0-1B9E6DADB55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72390" y="985597"/>
            <a:ext cx="6159341" cy="4864600"/>
          </a:xfrm>
        </p:spPr>
        <p:txBody>
          <a:bodyPr/>
          <a:lstStyle>
            <a:lvl1pPr marL="0" indent="0">
              <a:buNone/>
              <a:defRPr sz="3193"/>
            </a:lvl1pPr>
            <a:lvl2pPr marL="456240" indent="0">
              <a:buNone/>
              <a:defRPr sz="2794"/>
            </a:lvl2pPr>
            <a:lvl3pPr marL="912480" indent="0">
              <a:buNone/>
              <a:defRPr sz="2395"/>
            </a:lvl3pPr>
            <a:lvl4pPr marL="1368720" indent="0">
              <a:buNone/>
              <a:defRPr sz="1996"/>
            </a:lvl4pPr>
            <a:lvl5pPr marL="1824960" indent="0">
              <a:buNone/>
              <a:defRPr sz="1996"/>
            </a:lvl5pPr>
            <a:lvl6pPr marL="2281199" indent="0">
              <a:buNone/>
              <a:defRPr sz="1996"/>
            </a:lvl6pPr>
            <a:lvl7pPr marL="2737439" indent="0">
              <a:buNone/>
              <a:defRPr sz="1996"/>
            </a:lvl7pPr>
            <a:lvl8pPr marL="3193679" indent="0">
              <a:buNone/>
              <a:defRPr sz="1996"/>
            </a:lvl8pPr>
            <a:lvl9pPr marL="3649919" indent="0">
              <a:buNone/>
              <a:defRPr sz="1996"/>
            </a:lvl9pPr>
          </a:lstStyle>
          <a:p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493F435-72B1-4EFE-BAA8-42F867D2084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8039" y="2053590"/>
            <a:ext cx="3924045" cy="3804530"/>
          </a:xfrm>
        </p:spPr>
        <p:txBody>
          <a:bodyPr/>
          <a:lstStyle>
            <a:lvl1pPr marL="0" indent="0">
              <a:buNone/>
              <a:defRPr sz="1597"/>
            </a:lvl1pPr>
            <a:lvl2pPr marL="456240" indent="0">
              <a:buNone/>
              <a:defRPr sz="1397"/>
            </a:lvl2pPr>
            <a:lvl3pPr marL="912480" indent="0">
              <a:buNone/>
              <a:defRPr sz="1197"/>
            </a:lvl3pPr>
            <a:lvl4pPr marL="1368720" indent="0">
              <a:buNone/>
              <a:defRPr sz="998"/>
            </a:lvl4pPr>
            <a:lvl5pPr marL="1824960" indent="0">
              <a:buNone/>
              <a:defRPr sz="998"/>
            </a:lvl5pPr>
            <a:lvl6pPr marL="2281199" indent="0">
              <a:buNone/>
              <a:defRPr sz="998"/>
            </a:lvl6pPr>
            <a:lvl7pPr marL="2737439" indent="0">
              <a:buNone/>
              <a:defRPr sz="998"/>
            </a:lvl7pPr>
            <a:lvl8pPr marL="3193679" indent="0">
              <a:buNone/>
              <a:defRPr sz="998"/>
            </a:lvl8pPr>
            <a:lvl9pPr marL="3649919" indent="0">
              <a:buNone/>
              <a:defRPr sz="998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A3BD8895-3102-497B-B7E9-97B3B1DF2F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7924CA-B8B8-46B0-A6CA-5E6E4BE0D3F6}" type="datetime1">
              <a:rPr lang="ru-RU" smtClean="0"/>
              <a:t>23.12.2020</a:t>
            </a:fld>
            <a:endParaRPr lang="ru-RU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F00A9D0C-8895-44D5-B5D1-0A1141AFCC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6F50556F-15C6-438D-B082-E15BAAB256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54A1E0-1654-4A7F-AA48-6C9BE68E373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1771102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A67712F-7DAA-4D99-A0C5-091A3B905E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8B98F00E-DBD3-4618-9933-394FF7CAA35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C4DADE9-E6C0-432A-A54E-87A7E2805F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F73255-255A-4F0B-8259-DC8E21228C46}" type="datetime1">
              <a:rPr lang="ru-RU" smtClean="0"/>
              <a:t>23.12.2020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142B65D-CB4A-4EBD-AF77-7D8E4AA029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585017BE-8BD3-47FF-B3D1-3965748FAE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54A1E0-1654-4A7F-AA48-6C9BE68E373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604444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CD6B5C86-3480-46B1-BFE6-B26B10FC265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06723" y="364449"/>
            <a:ext cx="2623423" cy="580107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F8CB2183-9011-4200-B560-CCEADAFA811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6454" y="364449"/>
            <a:ext cx="7718187" cy="580107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FDC597E-3307-4032-B713-272BB04720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27DFD2-746C-4563-8BD3-48CFAC78CA4A}" type="datetime1">
              <a:rPr lang="ru-RU" smtClean="0"/>
              <a:t>23.12.2020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28B2BA4-3BF0-446C-B3F7-C92C7AD191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84CAD34-C155-46A6-8F3A-9D698B24FF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54A1E0-1654-4A7F-AA48-6C9BE68E373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655186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0825" y="1120284"/>
            <a:ext cx="9124950" cy="2383179"/>
          </a:xfrm>
        </p:spPr>
        <p:txBody>
          <a:bodyPr anchor="b"/>
          <a:lstStyle>
            <a:lvl1pPr algn="ctr">
              <a:defRPr sz="5987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0825" y="3595367"/>
            <a:ext cx="9124950" cy="1652696"/>
          </a:xfrm>
        </p:spPr>
        <p:txBody>
          <a:bodyPr/>
          <a:lstStyle>
            <a:lvl1pPr marL="0" indent="0" algn="ctr">
              <a:buNone/>
              <a:defRPr sz="2395"/>
            </a:lvl1pPr>
            <a:lvl2pPr marL="456240" indent="0" algn="ctr">
              <a:buNone/>
              <a:defRPr sz="1996"/>
            </a:lvl2pPr>
            <a:lvl3pPr marL="912480" indent="0" algn="ctr">
              <a:buNone/>
              <a:defRPr sz="1796"/>
            </a:lvl3pPr>
            <a:lvl4pPr marL="1368720" indent="0" algn="ctr">
              <a:buNone/>
              <a:defRPr sz="1597"/>
            </a:lvl4pPr>
            <a:lvl5pPr marL="1824960" indent="0" algn="ctr">
              <a:buNone/>
              <a:defRPr sz="1597"/>
            </a:lvl5pPr>
            <a:lvl6pPr marL="2281199" indent="0" algn="ctr">
              <a:buNone/>
              <a:defRPr sz="1597"/>
            </a:lvl6pPr>
            <a:lvl7pPr marL="2737439" indent="0" algn="ctr">
              <a:buNone/>
              <a:defRPr sz="1597"/>
            </a:lvl7pPr>
            <a:lvl8pPr marL="3193679" indent="0" algn="ctr">
              <a:buNone/>
              <a:defRPr sz="1597"/>
            </a:lvl8pPr>
            <a:lvl9pPr marL="3649919" indent="0" algn="ctr">
              <a:buNone/>
              <a:defRPr sz="1597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DB45FC-1DD1-44CE-A9F4-D590E617A740}" type="datetimeFigureOut">
              <a:rPr lang="ru-RU"/>
              <a:pPr>
                <a:defRPr/>
              </a:pPr>
              <a:t>23.1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C67738-370E-4F22-B5FB-94D307155B9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1610258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96F520-C73B-4883-9FD9-31D1D9187A26}" type="datetimeFigureOut">
              <a:rPr lang="ru-RU"/>
              <a:pPr>
                <a:defRPr/>
              </a:pPr>
              <a:t>23.1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EC4738-CA11-490F-9300-AB1E7E43242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271694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950" b="1" i="0">
                <a:solidFill>
                  <a:srgbClr val="151616"/>
                </a:solidFill>
                <a:latin typeface="Myriad Pro"/>
                <a:cs typeface="Myriad Pro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1000" b="1" i="0">
                <a:solidFill>
                  <a:srgbClr val="9C2B8B"/>
                </a:solidFill>
                <a:latin typeface="Myriad Arabic"/>
                <a:cs typeface="Myriad Arabic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5503C0-201D-4A68-B423-420934B9E28E}" type="datetime1">
              <a:rPr lang="ru-RU" smtClean="0"/>
              <a:t>23.12.2020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0117" y="1706572"/>
            <a:ext cx="10493693" cy="2847454"/>
          </a:xfrm>
        </p:spPr>
        <p:txBody>
          <a:bodyPr anchor="b"/>
          <a:lstStyle>
            <a:lvl1pPr>
              <a:defRPr sz="5987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0117" y="4580964"/>
            <a:ext cx="10493693" cy="1497409"/>
          </a:xfrm>
        </p:spPr>
        <p:txBody>
          <a:bodyPr/>
          <a:lstStyle>
            <a:lvl1pPr marL="0" indent="0">
              <a:buNone/>
              <a:defRPr sz="2395">
                <a:solidFill>
                  <a:schemeClr val="tx1">
                    <a:tint val="75000"/>
                  </a:schemeClr>
                </a:solidFill>
              </a:defRPr>
            </a:lvl1pPr>
            <a:lvl2pPr marL="456240" indent="0">
              <a:buNone/>
              <a:defRPr sz="1996">
                <a:solidFill>
                  <a:schemeClr val="tx1">
                    <a:tint val="75000"/>
                  </a:schemeClr>
                </a:solidFill>
              </a:defRPr>
            </a:lvl2pPr>
            <a:lvl3pPr marL="912480" indent="0">
              <a:buNone/>
              <a:defRPr sz="1796">
                <a:solidFill>
                  <a:schemeClr val="tx1">
                    <a:tint val="75000"/>
                  </a:schemeClr>
                </a:solidFill>
              </a:defRPr>
            </a:lvl3pPr>
            <a:lvl4pPr marL="1368720" indent="0">
              <a:buNone/>
              <a:defRPr sz="1597">
                <a:solidFill>
                  <a:schemeClr val="tx1">
                    <a:tint val="75000"/>
                  </a:schemeClr>
                </a:solidFill>
              </a:defRPr>
            </a:lvl4pPr>
            <a:lvl5pPr marL="1824960" indent="0">
              <a:buNone/>
              <a:defRPr sz="1597">
                <a:solidFill>
                  <a:schemeClr val="tx1">
                    <a:tint val="75000"/>
                  </a:schemeClr>
                </a:solidFill>
              </a:defRPr>
            </a:lvl5pPr>
            <a:lvl6pPr marL="2281199" indent="0">
              <a:buNone/>
              <a:defRPr sz="1597">
                <a:solidFill>
                  <a:schemeClr val="tx1">
                    <a:tint val="75000"/>
                  </a:schemeClr>
                </a:solidFill>
              </a:defRPr>
            </a:lvl6pPr>
            <a:lvl7pPr marL="2737439" indent="0">
              <a:buNone/>
              <a:defRPr sz="1597">
                <a:solidFill>
                  <a:schemeClr val="tx1">
                    <a:tint val="75000"/>
                  </a:schemeClr>
                </a:solidFill>
              </a:defRPr>
            </a:lvl7pPr>
            <a:lvl8pPr marL="3193679" indent="0">
              <a:buNone/>
              <a:defRPr sz="1597">
                <a:solidFill>
                  <a:schemeClr val="tx1">
                    <a:tint val="75000"/>
                  </a:schemeClr>
                </a:solidFill>
              </a:defRPr>
            </a:lvl8pPr>
            <a:lvl9pPr marL="3649919" indent="0">
              <a:buNone/>
              <a:defRPr sz="159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A87740-3A89-44A4-8336-3D6EAF17316E}" type="datetimeFigureOut">
              <a:rPr lang="ru-RU"/>
              <a:pPr>
                <a:defRPr/>
              </a:pPr>
              <a:t>23.1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8B9DAC-73C9-42D2-8574-0201F23F991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1698195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6454" y="1822244"/>
            <a:ext cx="5170805" cy="434328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59341" y="1822244"/>
            <a:ext cx="5170805" cy="434328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65DCEE-C9D0-45B8-8EB4-00A17174E8FC}" type="datetimeFigureOut">
              <a:rPr lang="ru-RU"/>
              <a:pPr>
                <a:defRPr/>
              </a:pPr>
              <a:t>23.1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F10388-CDC7-4DD5-80C3-D44F3307C41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0319938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038" y="364449"/>
            <a:ext cx="10493693" cy="1323108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039" y="1678050"/>
            <a:ext cx="5147042" cy="822386"/>
          </a:xfrm>
        </p:spPr>
        <p:txBody>
          <a:bodyPr anchor="b"/>
          <a:lstStyle>
            <a:lvl1pPr marL="0" indent="0">
              <a:buNone/>
              <a:defRPr sz="2395" b="1"/>
            </a:lvl1pPr>
            <a:lvl2pPr marL="456240" indent="0">
              <a:buNone/>
              <a:defRPr sz="1996" b="1"/>
            </a:lvl2pPr>
            <a:lvl3pPr marL="912480" indent="0">
              <a:buNone/>
              <a:defRPr sz="1796" b="1"/>
            </a:lvl3pPr>
            <a:lvl4pPr marL="1368720" indent="0">
              <a:buNone/>
              <a:defRPr sz="1597" b="1"/>
            </a:lvl4pPr>
            <a:lvl5pPr marL="1824960" indent="0">
              <a:buNone/>
              <a:defRPr sz="1597" b="1"/>
            </a:lvl5pPr>
            <a:lvl6pPr marL="2281199" indent="0">
              <a:buNone/>
              <a:defRPr sz="1597" b="1"/>
            </a:lvl6pPr>
            <a:lvl7pPr marL="2737439" indent="0">
              <a:buNone/>
              <a:defRPr sz="1597" b="1"/>
            </a:lvl7pPr>
            <a:lvl8pPr marL="3193679" indent="0">
              <a:buNone/>
              <a:defRPr sz="1597" b="1"/>
            </a:lvl8pPr>
            <a:lvl9pPr marL="3649919" indent="0">
              <a:buNone/>
              <a:defRPr sz="1597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8039" y="2500436"/>
            <a:ext cx="5147042" cy="367776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59341" y="1678050"/>
            <a:ext cx="5172390" cy="822386"/>
          </a:xfrm>
        </p:spPr>
        <p:txBody>
          <a:bodyPr anchor="b"/>
          <a:lstStyle>
            <a:lvl1pPr marL="0" indent="0">
              <a:buNone/>
              <a:defRPr sz="2395" b="1"/>
            </a:lvl1pPr>
            <a:lvl2pPr marL="456240" indent="0">
              <a:buNone/>
              <a:defRPr sz="1996" b="1"/>
            </a:lvl2pPr>
            <a:lvl3pPr marL="912480" indent="0">
              <a:buNone/>
              <a:defRPr sz="1796" b="1"/>
            </a:lvl3pPr>
            <a:lvl4pPr marL="1368720" indent="0">
              <a:buNone/>
              <a:defRPr sz="1597" b="1"/>
            </a:lvl4pPr>
            <a:lvl5pPr marL="1824960" indent="0">
              <a:buNone/>
              <a:defRPr sz="1597" b="1"/>
            </a:lvl5pPr>
            <a:lvl6pPr marL="2281199" indent="0">
              <a:buNone/>
              <a:defRPr sz="1597" b="1"/>
            </a:lvl6pPr>
            <a:lvl7pPr marL="2737439" indent="0">
              <a:buNone/>
              <a:defRPr sz="1597" b="1"/>
            </a:lvl7pPr>
            <a:lvl8pPr marL="3193679" indent="0">
              <a:buNone/>
              <a:defRPr sz="1597" b="1"/>
            </a:lvl8pPr>
            <a:lvl9pPr marL="3649919" indent="0">
              <a:buNone/>
              <a:defRPr sz="1597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59341" y="2500436"/>
            <a:ext cx="5172390" cy="367776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F0BE53-6C72-4484-AE4F-66EEF3173711}" type="datetimeFigureOut">
              <a:rPr lang="ru-RU"/>
              <a:pPr>
                <a:defRPr/>
              </a:pPr>
              <a:t>23.12.2020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33309A-47A1-46FC-A9D8-311AAB2D58B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6626051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4C5AA1-A18A-4B10-B166-E450EB16E3F3}" type="datetimeFigureOut">
              <a:rPr lang="ru-RU"/>
              <a:pPr>
                <a:defRPr/>
              </a:pPr>
              <a:t>23.12.2020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959CC3-1ADB-4A6C-BD8F-E249CFEF1F6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4470189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EEB265-70DE-4CE7-89FA-D53A0121B1C0}" type="datetimeFigureOut">
              <a:rPr lang="ru-RU"/>
              <a:pPr>
                <a:defRPr/>
              </a:pPr>
              <a:t>23.12.2020</a:t>
            </a:fld>
            <a:endParaRPr lang="ru-RU" dirty="0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CAC624-16D2-4128-B166-382811E5777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7415886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039" y="456353"/>
            <a:ext cx="3924045" cy="1597237"/>
          </a:xfrm>
        </p:spPr>
        <p:txBody>
          <a:bodyPr anchor="b"/>
          <a:lstStyle>
            <a:lvl1pPr>
              <a:defRPr sz="3193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72390" y="985597"/>
            <a:ext cx="6159341" cy="4864600"/>
          </a:xfrm>
        </p:spPr>
        <p:txBody>
          <a:bodyPr/>
          <a:lstStyle>
            <a:lvl1pPr>
              <a:defRPr sz="3193"/>
            </a:lvl1pPr>
            <a:lvl2pPr>
              <a:defRPr sz="2794"/>
            </a:lvl2pPr>
            <a:lvl3pPr>
              <a:defRPr sz="2395"/>
            </a:lvl3pPr>
            <a:lvl4pPr>
              <a:defRPr sz="1996"/>
            </a:lvl4pPr>
            <a:lvl5pPr>
              <a:defRPr sz="1996"/>
            </a:lvl5pPr>
            <a:lvl6pPr>
              <a:defRPr sz="1996"/>
            </a:lvl6pPr>
            <a:lvl7pPr>
              <a:defRPr sz="1996"/>
            </a:lvl7pPr>
            <a:lvl8pPr>
              <a:defRPr sz="1996"/>
            </a:lvl8pPr>
            <a:lvl9pPr>
              <a:defRPr sz="1996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8039" y="2053590"/>
            <a:ext cx="3924045" cy="3804530"/>
          </a:xfrm>
        </p:spPr>
        <p:txBody>
          <a:bodyPr/>
          <a:lstStyle>
            <a:lvl1pPr marL="0" indent="0">
              <a:buNone/>
              <a:defRPr sz="1597"/>
            </a:lvl1pPr>
            <a:lvl2pPr marL="456240" indent="0">
              <a:buNone/>
              <a:defRPr sz="1397"/>
            </a:lvl2pPr>
            <a:lvl3pPr marL="912480" indent="0">
              <a:buNone/>
              <a:defRPr sz="1197"/>
            </a:lvl3pPr>
            <a:lvl4pPr marL="1368720" indent="0">
              <a:buNone/>
              <a:defRPr sz="998"/>
            </a:lvl4pPr>
            <a:lvl5pPr marL="1824960" indent="0">
              <a:buNone/>
              <a:defRPr sz="998"/>
            </a:lvl5pPr>
            <a:lvl6pPr marL="2281199" indent="0">
              <a:buNone/>
              <a:defRPr sz="998"/>
            </a:lvl6pPr>
            <a:lvl7pPr marL="2737439" indent="0">
              <a:buNone/>
              <a:defRPr sz="998"/>
            </a:lvl7pPr>
            <a:lvl8pPr marL="3193679" indent="0">
              <a:buNone/>
              <a:defRPr sz="998"/>
            </a:lvl8pPr>
            <a:lvl9pPr marL="3649919" indent="0">
              <a:buNone/>
              <a:defRPr sz="998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7F7CEB-6C09-4729-B41A-9D733AB249C7}" type="datetimeFigureOut">
              <a:rPr lang="ru-RU"/>
              <a:pPr>
                <a:defRPr/>
              </a:pPr>
              <a:t>23.1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CA1D3D-2BA4-4258-8C83-C5B3EF7C946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5634108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039" y="456353"/>
            <a:ext cx="3924045" cy="1597237"/>
          </a:xfrm>
        </p:spPr>
        <p:txBody>
          <a:bodyPr anchor="b"/>
          <a:lstStyle>
            <a:lvl1pPr>
              <a:defRPr sz="3193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72390" y="985597"/>
            <a:ext cx="6159341" cy="4864600"/>
          </a:xfrm>
        </p:spPr>
        <p:txBody>
          <a:bodyPr rtlCol="0">
            <a:normAutofit/>
          </a:bodyPr>
          <a:lstStyle>
            <a:lvl1pPr marL="0" indent="0">
              <a:buNone/>
              <a:defRPr sz="3193"/>
            </a:lvl1pPr>
            <a:lvl2pPr marL="456240" indent="0">
              <a:buNone/>
              <a:defRPr sz="2794"/>
            </a:lvl2pPr>
            <a:lvl3pPr marL="912480" indent="0">
              <a:buNone/>
              <a:defRPr sz="2395"/>
            </a:lvl3pPr>
            <a:lvl4pPr marL="1368720" indent="0">
              <a:buNone/>
              <a:defRPr sz="1996"/>
            </a:lvl4pPr>
            <a:lvl5pPr marL="1824960" indent="0">
              <a:buNone/>
              <a:defRPr sz="1996"/>
            </a:lvl5pPr>
            <a:lvl6pPr marL="2281199" indent="0">
              <a:buNone/>
              <a:defRPr sz="1996"/>
            </a:lvl6pPr>
            <a:lvl7pPr marL="2737439" indent="0">
              <a:buNone/>
              <a:defRPr sz="1996"/>
            </a:lvl7pPr>
            <a:lvl8pPr marL="3193679" indent="0">
              <a:buNone/>
              <a:defRPr sz="1996"/>
            </a:lvl8pPr>
            <a:lvl9pPr marL="3649919" indent="0">
              <a:buNone/>
              <a:defRPr sz="1996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8039" y="2053590"/>
            <a:ext cx="3924045" cy="3804530"/>
          </a:xfrm>
        </p:spPr>
        <p:txBody>
          <a:bodyPr/>
          <a:lstStyle>
            <a:lvl1pPr marL="0" indent="0">
              <a:buNone/>
              <a:defRPr sz="1597"/>
            </a:lvl1pPr>
            <a:lvl2pPr marL="456240" indent="0">
              <a:buNone/>
              <a:defRPr sz="1397"/>
            </a:lvl2pPr>
            <a:lvl3pPr marL="912480" indent="0">
              <a:buNone/>
              <a:defRPr sz="1197"/>
            </a:lvl3pPr>
            <a:lvl4pPr marL="1368720" indent="0">
              <a:buNone/>
              <a:defRPr sz="998"/>
            </a:lvl4pPr>
            <a:lvl5pPr marL="1824960" indent="0">
              <a:buNone/>
              <a:defRPr sz="998"/>
            </a:lvl5pPr>
            <a:lvl6pPr marL="2281199" indent="0">
              <a:buNone/>
              <a:defRPr sz="998"/>
            </a:lvl6pPr>
            <a:lvl7pPr marL="2737439" indent="0">
              <a:buNone/>
              <a:defRPr sz="998"/>
            </a:lvl7pPr>
            <a:lvl8pPr marL="3193679" indent="0">
              <a:buNone/>
              <a:defRPr sz="998"/>
            </a:lvl8pPr>
            <a:lvl9pPr marL="3649919" indent="0">
              <a:buNone/>
              <a:defRPr sz="998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118E07-DC91-4751-8BDC-62B6019B103B}" type="datetimeFigureOut">
              <a:rPr lang="ru-RU"/>
              <a:pPr>
                <a:defRPr/>
              </a:pPr>
              <a:t>23.1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00BFF9-C4C5-434A-B9DC-75DFCD93ED3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6812807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3484D7-516E-4137-BC44-F95E101C88F8}" type="datetimeFigureOut">
              <a:rPr lang="ru-RU"/>
              <a:pPr>
                <a:defRPr/>
              </a:pPr>
              <a:t>23.1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63DF66-556B-4626-9361-6C2B158D58C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0390291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06723" y="364449"/>
            <a:ext cx="2623423" cy="580107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6454" y="364449"/>
            <a:ext cx="7718187" cy="580107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BC74DA-0F08-40A4-BC02-2A2964646A60}" type="datetimeFigureOut">
              <a:rPr lang="ru-RU"/>
              <a:pPr>
                <a:defRPr/>
              </a:pPr>
              <a:t>23.1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4E7BC5-35C2-4898-B4A8-366D4562791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2394739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0825" y="1120284"/>
            <a:ext cx="9124950" cy="2383179"/>
          </a:xfrm>
        </p:spPr>
        <p:txBody>
          <a:bodyPr anchor="b"/>
          <a:lstStyle>
            <a:lvl1pPr algn="ctr">
              <a:defRPr sz="5987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0825" y="3595367"/>
            <a:ext cx="9124950" cy="1652696"/>
          </a:xfrm>
        </p:spPr>
        <p:txBody>
          <a:bodyPr/>
          <a:lstStyle>
            <a:lvl1pPr marL="0" indent="0" algn="ctr">
              <a:buNone/>
              <a:defRPr sz="2395"/>
            </a:lvl1pPr>
            <a:lvl2pPr marL="456240" indent="0" algn="ctr">
              <a:buNone/>
              <a:defRPr sz="1996"/>
            </a:lvl2pPr>
            <a:lvl3pPr marL="912480" indent="0" algn="ctr">
              <a:buNone/>
              <a:defRPr sz="1796"/>
            </a:lvl3pPr>
            <a:lvl4pPr marL="1368720" indent="0" algn="ctr">
              <a:buNone/>
              <a:defRPr sz="1597"/>
            </a:lvl4pPr>
            <a:lvl5pPr marL="1824960" indent="0" algn="ctr">
              <a:buNone/>
              <a:defRPr sz="1597"/>
            </a:lvl5pPr>
            <a:lvl6pPr marL="2281199" indent="0" algn="ctr">
              <a:buNone/>
              <a:defRPr sz="1597"/>
            </a:lvl6pPr>
            <a:lvl7pPr marL="2737439" indent="0" algn="ctr">
              <a:buNone/>
              <a:defRPr sz="1597"/>
            </a:lvl7pPr>
            <a:lvl8pPr marL="3193679" indent="0" algn="ctr">
              <a:buNone/>
              <a:defRPr sz="1597"/>
            </a:lvl8pPr>
            <a:lvl9pPr marL="3649919" indent="0" algn="ctr">
              <a:buNone/>
              <a:defRPr sz="1597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CC4530-C058-40E2-9FD1-8DDEA00CD331}" type="datetimeFigureOut">
              <a:rPr lang="ru-RU" smtClean="0"/>
              <a:pPr/>
              <a:t>23.1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3F76E-41CC-43AC-B7C2-47ADF64BE8C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55863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950" b="1" i="0">
                <a:solidFill>
                  <a:srgbClr val="151616"/>
                </a:solidFill>
                <a:latin typeface="Myriad Pro"/>
                <a:cs typeface="Myriad Pro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573488" y="2168366"/>
            <a:ext cx="3221354" cy="37236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rgbClr val="151616"/>
                </a:solidFill>
                <a:latin typeface="Myriad Pro Light"/>
                <a:cs typeface="Myriad Pro Light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69069" y="1574419"/>
            <a:ext cx="5295233" cy="45178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56CF972-EA0E-43F2-BE49-4FE6A2EFCAC6}" type="datetime1">
              <a:rPr lang="ru-RU" smtClean="0"/>
              <a:t>23.12.2020</a:t>
            </a:fld>
            <a:endParaRPr lang="en-US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CC4530-C058-40E2-9FD1-8DDEA00CD331}" type="datetimeFigureOut">
              <a:rPr lang="ru-RU" smtClean="0"/>
              <a:pPr/>
              <a:t>23.1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3F76E-41CC-43AC-B7C2-47ADF64BE8C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5817033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0117" y="1706572"/>
            <a:ext cx="10493693" cy="2847454"/>
          </a:xfrm>
        </p:spPr>
        <p:txBody>
          <a:bodyPr anchor="b"/>
          <a:lstStyle>
            <a:lvl1pPr>
              <a:defRPr sz="5987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0117" y="4580964"/>
            <a:ext cx="10493693" cy="1497409"/>
          </a:xfrm>
        </p:spPr>
        <p:txBody>
          <a:bodyPr/>
          <a:lstStyle>
            <a:lvl1pPr marL="0" indent="0">
              <a:buNone/>
              <a:defRPr sz="2395">
                <a:solidFill>
                  <a:schemeClr val="tx1">
                    <a:tint val="75000"/>
                  </a:schemeClr>
                </a:solidFill>
              </a:defRPr>
            </a:lvl1pPr>
            <a:lvl2pPr marL="456240" indent="0">
              <a:buNone/>
              <a:defRPr sz="1996">
                <a:solidFill>
                  <a:schemeClr val="tx1">
                    <a:tint val="75000"/>
                  </a:schemeClr>
                </a:solidFill>
              </a:defRPr>
            </a:lvl2pPr>
            <a:lvl3pPr marL="912480" indent="0">
              <a:buNone/>
              <a:defRPr sz="1796">
                <a:solidFill>
                  <a:schemeClr val="tx1">
                    <a:tint val="75000"/>
                  </a:schemeClr>
                </a:solidFill>
              </a:defRPr>
            </a:lvl3pPr>
            <a:lvl4pPr marL="1368720" indent="0">
              <a:buNone/>
              <a:defRPr sz="1597">
                <a:solidFill>
                  <a:schemeClr val="tx1">
                    <a:tint val="75000"/>
                  </a:schemeClr>
                </a:solidFill>
              </a:defRPr>
            </a:lvl4pPr>
            <a:lvl5pPr marL="1824960" indent="0">
              <a:buNone/>
              <a:defRPr sz="1597">
                <a:solidFill>
                  <a:schemeClr val="tx1">
                    <a:tint val="75000"/>
                  </a:schemeClr>
                </a:solidFill>
              </a:defRPr>
            </a:lvl5pPr>
            <a:lvl6pPr marL="2281199" indent="0">
              <a:buNone/>
              <a:defRPr sz="1597">
                <a:solidFill>
                  <a:schemeClr val="tx1">
                    <a:tint val="75000"/>
                  </a:schemeClr>
                </a:solidFill>
              </a:defRPr>
            </a:lvl6pPr>
            <a:lvl7pPr marL="2737439" indent="0">
              <a:buNone/>
              <a:defRPr sz="1597">
                <a:solidFill>
                  <a:schemeClr val="tx1">
                    <a:tint val="75000"/>
                  </a:schemeClr>
                </a:solidFill>
              </a:defRPr>
            </a:lvl7pPr>
            <a:lvl8pPr marL="3193679" indent="0">
              <a:buNone/>
              <a:defRPr sz="1597">
                <a:solidFill>
                  <a:schemeClr val="tx1">
                    <a:tint val="75000"/>
                  </a:schemeClr>
                </a:solidFill>
              </a:defRPr>
            </a:lvl8pPr>
            <a:lvl9pPr marL="3649919" indent="0">
              <a:buNone/>
              <a:defRPr sz="159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CC4530-C058-40E2-9FD1-8DDEA00CD331}" type="datetimeFigureOut">
              <a:rPr lang="ru-RU" smtClean="0"/>
              <a:pPr/>
              <a:t>23.1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3F76E-41CC-43AC-B7C2-47ADF64BE8C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4549431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6454" y="1822244"/>
            <a:ext cx="5170805" cy="434328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59341" y="1822244"/>
            <a:ext cx="5170805" cy="434328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CC4530-C058-40E2-9FD1-8DDEA00CD331}" type="datetimeFigureOut">
              <a:rPr lang="ru-RU" smtClean="0"/>
              <a:pPr/>
              <a:t>23.12.2020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3F76E-41CC-43AC-B7C2-47ADF64BE8C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5286303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038" y="364449"/>
            <a:ext cx="10493693" cy="1323108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039" y="1678050"/>
            <a:ext cx="5147042" cy="822386"/>
          </a:xfrm>
        </p:spPr>
        <p:txBody>
          <a:bodyPr anchor="b"/>
          <a:lstStyle>
            <a:lvl1pPr marL="0" indent="0">
              <a:buNone/>
              <a:defRPr sz="2395" b="1"/>
            </a:lvl1pPr>
            <a:lvl2pPr marL="456240" indent="0">
              <a:buNone/>
              <a:defRPr sz="1996" b="1"/>
            </a:lvl2pPr>
            <a:lvl3pPr marL="912480" indent="0">
              <a:buNone/>
              <a:defRPr sz="1796" b="1"/>
            </a:lvl3pPr>
            <a:lvl4pPr marL="1368720" indent="0">
              <a:buNone/>
              <a:defRPr sz="1597" b="1"/>
            </a:lvl4pPr>
            <a:lvl5pPr marL="1824960" indent="0">
              <a:buNone/>
              <a:defRPr sz="1597" b="1"/>
            </a:lvl5pPr>
            <a:lvl6pPr marL="2281199" indent="0">
              <a:buNone/>
              <a:defRPr sz="1597" b="1"/>
            </a:lvl6pPr>
            <a:lvl7pPr marL="2737439" indent="0">
              <a:buNone/>
              <a:defRPr sz="1597" b="1"/>
            </a:lvl7pPr>
            <a:lvl8pPr marL="3193679" indent="0">
              <a:buNone/>
              <a:defRPr sz="1597" b="1"/>
            </a:lvl8pPr>
            <a:lvl9pPr marL="3649919" indent="0">
              <a:buNone/>
              <a:defRPr sz="1597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8039" y="2500436"/>
            <a:ext cx="5147042" cy="367776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59341" y="1678050"/>
            <a:ext cx="5172390" cy="822386"/>
          </a:xfrm>
        </p:spPr>
        <p:txBody>
          <a:bodyPr anchor="b"/>
          <a:lstStyle>
            <a:lvl1pPr marL="0" indent="0">
              <a:buNone/>
              <a:defRPr sz="2395" b="1"/>
            </a:lvl1pPr>
            <a:lvl2pPr marL="456240" indent="0">
              <a:buNone/>
              <a:defRPr sz="1996" b="1"/>
            </a:lvl2pPr>
            <a:lvl3pPr marL="912480" indent="0">
              <a:buNone/>
              <a:defRPr sz="1796" b="1"/>
            </a:lvl3pPr>
            <a:lvl4pPr marL="1368720" indent="0">
              <a:buNone/>
              <a:defRPr sz="1597" b="1"/>
            </a:lvl4pPr>
            <a:lvl5pPr marL="1824960" indent="0">
              <a:buNone/>
              <a:defRPr sz="1597" b="1"/>
            </a:lvl5pPr>
            <a:lvl6pPr marL="2281199" indent="0">
              <a:buNone/>
              <a:defRPr sz="1597" b="1"/>
            </a:lvl6pPr>
            <a:lvl7pPr marL="2737439" indent="0">
              <a:buNone/>
              <a:defRPr sz="1597" b="1"/>
            </a:lvl7pPr>
            <a:lvl8pPr marL="3193679" indent="0">
              <a:buNone/>
              <a:defRPr sz="1597" b="1"/>
            </a:lvl8pPr>
            <a:lvl9pPr marL="3649919" indent="0">
              <a:buNone/>
              <a:defRPr sz="1597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59341" y="2500436"/>
            <a:ext cx="5172390" cy="367776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CC4530-C058-40E2-9FD1-8DDEA00CD331}" type="datetimeFigureOut">
              <a:rPr lang="ru-RU" smtClean="0"/>
              <a:pPr/>
              <a:t>23.12.2020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3F76E-41CC-43AC-B7C2-47ADF64BE8C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3164355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CC4530-C058-40E2-9FD1-8DDEA00CD331}" type="datetimeFigureOut">
              <a:rPr lang="ru-RU" smtClean="0"/>
              <a:pPr/>
              <a:t>23.12.2020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3F76E-41CC-43AC-B7C2-47ADF64BE8C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5023157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CC4530-C058-40E2-9FD1-8DDEA00CD331}" type="datetimeFigureOut">
              <a:rPr lang="ru-RU" smtClean="0"/>
              <a:pPr/>
              <a:t>23.12.2020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3F76E-41CC-43AC-B7C2-47ADF64BE8C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6247717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039" y="456353"/>
            <a:ext cx="3924045" cy="1597237"/>
          </a:xfrm>
        </p:spPr>
        <p:txBody>
          <a:bodyPr anchor="b"/>
          <a:lstStyle>
            <a:lvl1pPr>
              <a:defRPr sz="3193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72390" y="985597"/>
            <a:ext cx="6159341" cy="4864600"/>
          </a:xfrm>
        </p:spPr>
        <p:txBody>
          <a:bodyPr/>
          <a:lstStyle>
            <a:lvl1pPr>
              <a:defRPr sz="3193"/>
            </a:lvl1pPr>
            <a:lvl2pPr>
              <a:defRPr sz="2794"/>
            </a:lvl2pPr>
            <a:lvl3pPr>
              <a:defRPr sz="2395"/>
            </a:lvl3pPr>
            <a:lvl4pPr>
              <a:defRPr sz="1996"/>
            </a:lvl4pPr>
            <a:lvl5pPr>
              <a:defRPr sz="1996"/>
            </a:lvl5pPr>
            <a:lvl6pPr>
              <a:defRPr sz="1996"/>
            </a:lvl6pPr>
            <a:lvl7pPr>
              <a:defRPr sz="1996"/>
            </a:lvl7pPr>
            <a:lvl8pPr>
              <a:defRPr sz="1996"/>
            </a:lvl8pPr>
            <a:lvl9pPr>
              <a:defRPr sz="1996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8039" y="2053590"/>
            <a:ext cx="3924045" cy="3804530"/>
          </a:xfrm>
        </p:spPr>
        <p:txBody>
          <a:bodyPr/>
          <a:lstStyle>
            <a:lvl1pPr marL="0" indent="0">
              <a:buNone/>
              <a:defRPr sz="1597"/>
            </a:lvl1pPr>
            <a:lvl2pPr marL="456240" indent="0">
              <a:buNone/>
              <a:defRPr sz="1397"/>
            </a:lvl2pPr>
            <a:lvl3pPr marL="912480" indent="0">
              <a:buNone/>
              <a:defRPr sz="1197"/>
            </a:lvl3pPr>
            <a:lvl4pPr marL="1368720" indent="0">
              <a:buNone/>
              <a:defRPr sz="998"/>
            </a:lvl4pPr>
            <a:lvl5pPr marL="1824960" indent="0">
              <a:buNone/>
              <a:defRPr sz="998"/>
            </a:lvl5pPr>
            <a:lvl6pPr marL="2281199" indent="0">
              <a:buNone/>
              <a:defRPr sz="998"/>
            </a:lvl6pPr>
            <a:lvl7pPr marL="2737439" indent="0">
              <a:buNone/>
              <a:defRPr sz="998"/>
            </a:lvl7pPr>
            <a:lvl8pPr marL="3193679" indent="0">
              <a:buNone/>
              <a:defRPr sz="998"/>
            </a:lvl8pPr>
            <a:lvl9pPr marL="3649919" indent="0">
              <a:buNone/>
              <a:defRPr sz="998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CC4530-C058-40E2-9FD1-8DDEA00CD331}" type="datetimeFigureOut">
              <a:rPr lang="ru-RU" smtClean="0"/>
              <a:pPr/>
              <a:t>23.12.2020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3F76E-41CC-43AC-B7C2-47ADF64BE8C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1591906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039" y="456353"/>
            <a:ext cx="3924045" cy="1597237"/>
          </a:xfrm>
        </p:spPr>
        <p:txBody>
          <a:bodyPr anchor="b"/>
          <a:lstStyle>
            <a:lvl1pPr>
              <a:defRPr sz="3193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72390" y="985597"/>
            <a:ext cx="6159341" cy="4864600"/>
          </a:xfrm>
        </p:spPr>
        <p:txBody>
          <a:bodyPr/>
          <a:lstStyle>
            <a:lvl1pPr marL="0" indent="0">
              <a:buNone/>
              <a:defRPr sz="3193"/>
            </a:lvl1pPr>
            <a:lvl2pPr marL="456240" indent="0">
              <a:buNone/>
              <a:defRPr sz="2794"/>
            </a:lvl2pPr>
            <a:lvl3pPr marL="912480" indent="0">
              <a:buNone/>
              <a:defRPr sz="2395"/>
            </a:lvl3pPr>
            <a:lvl4pPr marL="1368720" indent="0">
              <a:buNone/>
              <a:defRPr sz="1996"/>
            </a:lvl4pPr>
            <a:lvl5pPr marL="1824960" indent="0">
              <a:buNone/>
              <a:defRPr sz="1996"/>
            </a:lvl5pPr>
            <a:lvl6pPr marL="2281199" indent="0">
              <a:buNone/>
              <a:defRPr sz="1996"/>
            </a:lvl6pPr>
            <a:lvl7pPr marL="2737439" indent="0">
              <a:buNone/>
              <a:defRPr sz="1996"/>
            </a:lvl7pPr>
            <a:lvl8pPr marL="3193679" indent="0">
              <a:buNone/>
              <a:defRPr sz="1996"/>
            </a:lvl8pPr>
            <a:lvl9pPr marL="3649919" indent="0">
              <a:buNone/>
              <a:defRPr sz="1996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8039" y="2053590"/>
            <a:ext cx="3924045" cy="3804530"/>
          </a:xfrm>
        </p:spPr>
        <p:txBody>
          <a:bodyPr/>
          <a:lstStyle>
            <a:lvl1pPr marL="0" indent="0">
              <a:buNone/>
              <a:defRPr sz="1597"/>
            </a:lvl1pPr>
            <a:lvl2pPr marL="456240" indent="0">
              <a:buNone/>
              <a:defRPr sz="1397"/>
            </a:lvl2pPr>
            <a:lvl3pPr marL="912480" indent="0">
              <a:buNone/>
              <a:defRPr sz="1197"/>
            </a:lvl3pPr>
            <a:lvl4pPr marL="1368720" indent="0">
              <a:buNone/>
              <a:defRPr sz="998"/>
            </a:lvl4pPr>
            <a:lvl5pPr marL="1824960" indent="0">
              <a:buNone/>
              <a:defRPr sz="998"/>
            </a:lvl5pPr>
            <a:lvl6pPr marL="2281199" indent="0">
              <a:buNone/>
              <a:defRPr sz="998"/>
            </a:lvl6pPr>
            <a:lvl7pPr marL="2737439" indent="0">
              <a:buNone/>
              <a:defRPr sz="998"/>
            </a:lvl7pPr>
            <a:lvl8pPr marL="3193679" indent="0">
              <a:buNone/>
              <a:defRPr sz="998"/>
            </a:lvl8pPr>
            <a:lvl9pPr marL="3649919" indent="0">
              <a:buNone/>
              <a:defRPr sz="998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CC4530-C058-40E2-9FD1-8DDEA00CD331}" type="datetimeFigureOut">
              <a:rPr lang="ru-RU" smtClean="0"/>
              <a:pPr/>
              <a:t>23.12.2020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3F76E-41CC-43AC-B7C2-47ADF64BE8C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4601374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CC4530-C058-40E2-9FD1-8DDEA00CD331}" type="datetimeFigureOut">
              <a:rPr lang="ru-RU" smtClean="0"/>
              <a:pPr/>
              <a:t>23.1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3F76E-41CC-43AC-B7C2-47ADF64BE8C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4653056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06723" y="364449"/>
            <a:ext cx="2623423" cy="580107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6454" y="364449"/>
            <a:ext cx="7718187" cy="580107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CC4530-C058-40E2-9FD1-8DDEA00CD331}" type="datetimeFigureOut">
              <a:rPr lang="ru-RU" smtClean="0"/>
              <a:pPr/>
              <a:t>23.1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3F76E-41CC-43AC-B7C2-47ADF64BE8C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362992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950" b="1" i="0">
                <a:solidFill>
                  <a:srgbClr val="151616"/>
                </a:solidFill>
                <a:latin typeface="Myriad Pro"/>
                <a:cs typeface="Myriad Pro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82AA46-696F-4CAD-8B67-E07256247611}" type="datetime1">
              <a:rPr lang="ru-RU" smtClean="0"/>
              <a:t>23.12.2020</a:t>
            </a:fld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6366125"/>
              </p:ext>
            </p:extLst>
          </p:nvPr>
        </p:nvGraphicFramePr>
        <p:xfrm>
          <a:off x="1588" y="1589"/>
          <a:ext cx="1583" cy="15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73" imgH="473" progId="TCLayout.ActiveDocument.1">
                  <p:embed/>
                </p:oleObj>
              </mc:Choice>
              <mc:Fallback>
                <p:oleObj name="Слайд think-cell" r:id="rId3" imgW="473" imgH="473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3" cy="15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7878" name="Picture 534" descr="Картинки по запросу scientist">
            <a:extLst>
              <a:ext uri="{FF2B5EF4-FFF2-40B4-BE49-F238E27FC236}">
                <a16:creationId xmlns:a16="http://schemas.microsoft.com/office/drawing/2014/main" id="{C51E2BDE-E1AC-4826-B2EF-D04CD3F935A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37" r="5514"/>
          <a:stretch/>
        </p:blipFill>
        <p:spPr bwMode="auto">
          <a:xfrm flipH="1">
            <a:off x="3169" y="0"/>
            <a:ext cx="12163430" cy="6859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arallelogram 12"/>
          <p:cNvSpPr/>
          <p:nvPr userDrawn="1"/>
        </p:nvSpPr>
        <p:spPr>
          <a:xfrm>
            <a:off x="4629547" y="-74061"/>
            <a:ext cx="7997573" cy="6990350"/>
          </a:xfrm>
          <a:prstGeom prst="parallelogram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03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/>
          <a:srcRect l="20710" t="21510" r="19472" b="17046"/>
          <a:stretch/>
        </p:blipFill>
        <p:spPr>
          <a:xfrm>
            <a:off x="8121926" y="23978"/>
            <a:ext cx="4201029" cy="955630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691398" y="2097006"/>
            <a:ext cx="3531043" cy="148948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marR="0" indent="0" algn="l" defTabSz="53397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US" sz="2395" b="0" baseline="0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>
              <a:defRPr lang="en-US" sz="2096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en-US" sz="2096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en-US" sz="2096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2096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325713" marR="0" lvl="0" indent="-325713" algn="l" defTabSz="53397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2595" b="0" baseline="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Заголовок</a:t>
            </a:r>
            <a:endParaRPr lang="en-US" sz="2595" b="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2" hasCustomPrompt="1"/>
          </p:nvPr>
        </p:nvSpPr>
        <p:spPr>
          <a:xfrm>
            <a:off x="6939209" y="6160770"/>
            <a:ext cx="2935582" cy="25353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>
              <a:buFontTx/>
              <a:buNone/>
              <a:defRPr lang="en-US" sz="973" b="1" baseline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R="0" lvl="0" defTabSz="533972" latinLnBrk="0">
              <a:lnSpc>
                <a:spcPct val="100000"/>
              </a:lnSpc>
              <a:spcBef>
                <a:spcPct val="0"/>
              </a:spcBef>
              <a:buClrTx/>
              <a:buSzTx/>
              <a:tabLst/>
            </a:pPr>
            <a:r>
              <a:rPr lang="ru-RU" dirty="0"/>
              <a:t>Дата</a:t>
            </a:r>
            <a:endParaRPr lang="en-US" dirty="0"/>
          </a:p>
        </p:txBody>
      </p:sp>
      <p:sp>
        <p:nvSpPr>
          <p:cNvPr id="23" name="Content Placeholder 15"/>
          <p:cNvSpPr>
            <a:spLocks noGrp="1"/>
          </p:cNvSpPr>
          <p:nvPr>
            <p:ph sz="quarter" idx="13" hasCustomPrompt="1"/>
          </p:nvPr>
        </p:nvSpPr>
        <p:spPr>
          <a:xfrm>
            <a:off x="6939209" y="5770334"/>
            <a:ext cx="2935582" cy="25353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>
              <a:buFontTx/>
              <a:buNone/>
              <a:defRPr lang="en-US" sz="973" b="1" baseline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R="0" lvl="0" defTabSz="533972" latinLnBrk="0">
              <a:lnSpc>
                <a:spcPct val="100000"/>
              </a:lnSpc>
              <a:spcBef>
                <a:spcPct val="0"/>
              </a:spcBef>
              <a:buClrTx/>
              <a:buSzTx/>
              <a:tabLst/>
            </a:pPr>
            <a:r>
              <a:rPr lang="ru-RU" dirty="0"/>
              <a:t>Коммерческое предложение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15209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288003"/>
              </p:ext>
            </p:extLst>
          </p:nvPr>
        </p:nvGraphicFramePr>
        <p:xfrm>
          <a:off x="1588" y="1589"/>
          <a:ext cx="1583" cy="15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73" imgH="473" progId="TCLayout.ActiveDocument.1">
                  <p:embed/>
                </p:oleObj>
              </mc:Choice>
              <mc:Fallback>
                <p:oleObj name="Слайд think-cell" r:id="rId3" imgW="473" imgH="473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3" cy="15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3517598" y="1597237"/>
            <a:ext cx="7346828" cy="1359553"/>
          </a:xfrm>
          <a:prstGeom prst="rect">
            <a:avLst/>
          </a:prstGeom>
        </p:spPr>
        <p:txBody>
          <a:bodyPr anchor="t"/>
          <a:lstStyle>
            <a:lvl1pPr algn="l">
              <a:defRPr sz="2795" b="1" cap="all"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517598" y="700151"/>
            <a:ext cx="6610748" cy="70693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1pPr>
            <a:lvl2pPr marL="435024" indent="0">
              <a:buNone/>
              <a:defRPr sz="1703">
                <a:solidFill>
                  <a:schemeClr val="tx1">
                    <a:tint val="75000"/>
                  </a:schemeClr>
                </a:solidFill>
              </a:defRPr>
            </a:lvl2pPr>
            <a:lvl3pPr marL="870048" indent="0">
              <a:buNone/>
              <a:defRPr sz="1541">
                <a:solidFill>
                  <a:schemeClr val="tx1">
                    <a:tint val="75000"/>
                  </a:schemeClr>
                </a:solidFill>
              </a:defRPr>
            </a:lvl3pPr>
            <a:lvl4pPr marL="1305071" indent="0">
              <a:buNone/>
              <a:defRPr sz="1298">
                <a:solidFill>
                  <a:schemeClr val="tx1">
                    <a:tint val="75000"/>
                  </a:schemeClr>
                </a:solidFill>
              </a:defRPr>
            </a:lvl4pPr>
            <a:lvl5pPr marL="1740094" indent="0">
              <a:buNone/>
              <a:defRPr sz="1298">
                <a:solidFill>
                  <a:schemeClr val="tx1">
                    <a:tint val="75000"/>
                  </a:schemeClr>
                </a:solidFill>
              </a:defRPr>
            </a:lvl5pPr>
            <a:lvl6pPr marL="2175117" indent="0">
              <a:buNone/>
              <a:defRPr sz="1298">
                <a:solidFill>
                  <a:schemeClr val="tx1">
                    <a:tint val="75000"/>
                  </a:schemeClr>
                </a:solidFill>
              </a:defRPr>
            </a:lvl6pPr>
            <a:lvl7pPr marL="2610141" indent="0">
              <a:buNone/>
              <a:defRPr sz="1298">
                <a:solidFill>
                  <a:schemeClr val="tx1">
                    <a:tint val="75000"/>
                  </a:schemeClr>
                </a:solidFill>
              </a:defRPr>
            </a:lvl7pPr>
            <a:lvl8pPr marL="3045164" indent="0">
              <a:buNone/>
              <a:defRPr sz="1298">
                <a:solidFill>
                  <a:schemeClr val="tx1">
                    <a:tint val="75000"/>
                  </a:schemeClr>
                </a:solidFill>
              </a:defRPr>
            </a:lvl8pPr>
            <a:lvl9pPr marL="3480188" indent="0">
              <a:buNone/>
              <a:defRPr sz="129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3" name="Номер слайда 3">
            <a:extLst>
              <a:ext uri="{FF2B5EF4-FFF2-40B4-BE49-F238E27FC236}">
                <a16:creationId xmlns:a16="http://schemas.microsoft.com/office/drawing/2014/main" id="{F8D1901A-1345-402A-80D4-B0ECF861C5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91714" y="6585272"/>
            <a:ext cx="1439729" cy="196024"/>
          </a:xfrm>
          <a:prstGeom prst="rect">
            <a:avLst/>
          </a:prstGeom>
        </p:spPr>
        <p:txBody>
          <a:bodyPr anchor="ctr"/>
          <a:lstStyle>
            <a:lvl1pPr algn="r">
              <a:defRPr sz="1397" smtClean="0"/>
            </a:lvl1pPr>
          </a:lstStyle>
          <a:p>
            <a:pPr>
              <a:defRPr/>
            </a:pPr>
            <a:fld id="{FC53B5C6-9314-4524-AC64-03D02BB042E3}" type="slidenum">
              <a:rPr lang="ru-RU" altLang="ru-RU" smtClean="0"/>
              <a:pPr>
                <a:defRPr/>
              </a:pPr>
              <a:t>‹#›</a:t>
            </a:fld>
            <a:endParaRPr lang="ru-RU" altLang="ru-RU" dirty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39" t="28658" r="7288" b="28898"/>
          <a:stretch/>
        </p:blipFill>
        <p:spPr>
          <a:xfrm>
            <a:off x="10296331" y="121220"/>
            <a:ext cx="1598497" cy="289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669316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исьм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0151123"/>
              </p:ext>
            </p:extLst>
          </p:nvPr>
        </p:nvGraphicFramePr>
        <p:xfrm>
          <a:off x="1588" y="1589"/>
          <a:ext cx="1583" cy="15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73" imgH="473" progId="TCLayout.ActiveDocument.1">
                  <p:embed/>
                </p:oleObj>
              </mc:Choice>
              <mc:Fallback>
                <p:oleObj name="Слайд think-cell" r:id="rId3" imgW="473" imgH="473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3" cy="15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FCB677EF-396C-4B97-9E93-0399B4C107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211443" y="6594133"/>
            <a:ext cx="3852757" cy="196024"/>
          </a:xfrm>
          <a:prstGeom prst="rect">
            <a:avLst/>
          </a:prstGeom>
        </p:spPr>
        <p:txBody>
          <a:bodyPr anchor="ctr"/>
          <a:lstStyle>
            <a:lvl1pPr algn="l">
              <a:defRPr sz="1098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F8D1901A-1345-402A-80D4-B0ECF861C5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91714" y="6585272"/>
            <a:ext cx="1439729" cy="196024"/>
          </a:xfrm>
          <a:prstGeom prst="rect">
            <a:avLst/>
          </a:prstGeom>
        </p:spPr>
        <p:txBody>
          <a:bodyPr anchor="ctr"/>
          <a:lstStyle>
            <a:lvl1pPr>
              <a:defRPr lang="ru-RU" altLang="ru-RU" sz="1397" smtClean="0"/>
            </a:lvl1pPr>
          </a:lstStyle>
          <a:p>
            <a:pPr algn="r"/>
            <a:fld id="{FC53B5C6-9314-4524-AC64-03D02BB042E3}" type="slidenum">
              <a:rPr lang="en-US" smtClean="0"/>
              <a:pPr algn="r"/>
              <a:t>‹#›</a:t>
            </a:fld>
            <a:endParaRPr lang="en-US" dirty="0"/>
          </a:p>
        </p:txBody>
      </p:sp>
      <p:sp>
        <p:nvSpPr>
          <p:cNvPr id="14" name="Прямоугольник 13"/>
          <p:cNvSpPr>
            <a:spLocks noChangeArrowheads="1"/>
          </p:cNvSpPr>
          <p:nvPr userDrawn="1"/>
        </p:nvSpPr>
        <p:spPr bwMode="auto">
          <a:xfrm>
            <a:off x="608330" y="1610906"/>
            <a:ext cx="5267084" cy="29729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27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ts val="100"/>
              </a:spcBef>
            </a:pPr>
            <a:r>
              <a:rPr lang="ru-RU" altLang="ru-RU" sz="1198" dirty="0"/>
              <a:t>Мы приветствуем вас от имени консалтингового бюро</a:t>
            </a:r>
            <a:r>
              <a:rPr lang="en-US" altLang="ru-RU" sz="1198" dirty="0"/>
              <a:t> </a:t>
            </a:r>
            <a:r>
              <a:rPr lang="ru-RU" altLang="ru-RU" sz="1198" dirty="0"/>
              <a:t>«Прагматик».</a:t>
            </a:r>
            <a:endParaRPr lang="en-US" altLang="ru-RU" sz="1198" dirty="0"/>
          </a:p>
          <a:p>
            <a:pPr eaLnBrk="1" hangingPunct="1">
              <a:spcBef>
                <a:spcPts val="100"/>
              </a:spcBef>
            </a:pPr>
            <a:endParaRPr lang="en-US" altLang="ru-RU" sz="1198" dirty="0"/>
          </a:p>
          <a:p>
            <a:pPr marL="12676" marR="0" lvl="0" indent="0" algn="l" defTabSz="533972" rtl="0" eaLnBrk="1" fontAlgn="base" latinLnBrk="0" hangingPunct="1">
              <a:lnSpc>
                <a:spcPct val="100000"/>
              </a:lnSpc>
              <a:spcBef>
                <a:spcPts val="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sz="1198" dirty="0"/>
              <a:t>В наше бюро более 30 специалистов по аудиту, оценке и консалтингу оказывают услуги мирового качества российским компаниям и представительствам иностранных концернов на территории Российской Федерации.</a:t>
            </a:r>
          </a:p>
          <a:p>
            <a:pPr eaLnBrk="1" hangingPunct="1">
              <a:spcBef>
                <a:spcPts val="100"/>
              </a:spcBef>
            </a:pPr>
            <a:endParaRPr lang="en-US" altLang="ru-RU" sz="1198" dirty="0"/>
          </a:p>
          <a:p>
            <a:pPr defTabSz="53541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98" dirty="0"/>
              <a:t>Наши специалисты по аудиту, бизнес-консультированию и смежных направлениям используют возможности «бесшовного» консалтинга, при котором глубокие знания, а также большой отраслевой опыт помогает нашим клиентам получить качественный результат при разумных затратах. </a:t>
            </a:r>
          </a:p>
          <a:p>
            <a:pPr defTabSz="53541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198" dirty="0"/>
          </a:p>
          <a:p>
            <a:pPr defTabSz="53541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98" spc="5" dirty="0"/>
              <a:t>С уважением</a:t>
            </a:r>
            <a:r>
              <a:rPr lang="en-US" sz="1198" spc="5" dirty="0"/>
              <a:t>,</a:t>
            </a:r>
          </a:p>
          <a:p>
            <a:pPr marL="0" lvl="2" indent="0">
              <a:spcBef>
                <a:spcPts val="599"/>
              </a:spcBef>
            </a:pPr>
            <a:r>
              <a:rPr lang="ru-RU" altLang="en-US" sz="1198" b="0" dirty="0">
                <a:solidFill>
                  <a:schemeClr val="tx1"/>
                </a:solidFill>
              </a:rPr>
              <a:t>Команда</a:t>
            </a:r>
            <a:r>
              <a:rPr lang="ru-RU" altLang="en-US" sz="1198" b="0" baseline="0" dirty="0">
                <a:solidFill>
                  <a:schemeClr val="tx1"/>
                </a:solidFill>
              </a:rPr>
              <a:t> П</a:t>
            </a:r>
            <a:r>
              <a:rPr lang="ru-RU" altLang="en-US" sz="1198" b="0" dirty="0">
                <a:solidFill>
                  <a:schemeClr val="tx1"/>
                </a:solidFill>
              </a:rPr>
              <a:t>рагматик</a:t>
            </a:r>
            <a:endParaRPr lang="ru-RU" altLang="en-US" sz="1098" b="0" dirty="0">
              <a:solidFill>
                <a:schemeClr val="tx1"/>
              </a:solidFill>
            </a:endParaRPr>
          </a:p>
        </p:txBody>
      </p:sp>
      <p:sp>
        <p:nvSpPr>
          <p:cNvPr id="17" name="Прямоугольник 13"/>
          <p:cNvSpPr>
            <a:spLocks noChangeArrowheads="1"/>
          </p:cNvSpPr>
          <p:nvPr userDrawn="1"/>
        </p:nvSpPr>
        <p:spPr bwMode="auto">
          <a:xfrm>
            <a:off x="584896" y="161584"/>
            <a:ext cx="5474970" cy="398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Ins="91271">
            <a:spAutoFit/>
          </a:bodyPr>
          <a:lstStyle>
            <a:lvl1pPr marL="127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ts val="100"/>
              </a:spcBef>
            </a:pPr>
            <a:r>
              <a:rPr lang="ru-RU" sz="998" b="1" spc="5" dirty="0">
                <a:solidFill>
                  <a:schemeClr val="accent1"/>
                </a:solidFill>
              </a:rPr>
              <a:t>Конфиденциально					</a:t>
            </a:r>
            <a:endParaRPr lang="en-US" sz="998" b="1" spc="5" dirty="0">
              <a:solidFill>
                <a:schemeClr val="accent1"/>
              </a:solidFill>
            </a:endParaRPr>
          </a:p>
        </p:txBody>
      </p:sp>
      <p:sp>
        <p:nvSpPr>
          <p:cNvPr id="18" name="Прямоугольник 13"/>
          <p:cNvSpPr>
            <a:spLocks noChangeArrowheads="1"/>
          </p:cNvSpPr>
          <p:nvPr userDrawn="1"/>
        </p:nvSpPr>
        <p:spPr bwMode="auto">
          <a:xfrm>
            <a:off x="6137821" y="248369"/>
            <a:ext cx="5474970" cy="1077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Ins="91271">
            <a:spAutoFit/>
          </a:bodyPr>
          <a:lstStyle>
            <a:lvl1pPr marL="127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spcBef>
                <a:spcPts val="100"/>
              </a:spcBef>
            </a:pPr>
            <a:r>
              <a:rPr lang="ru-RU" sz="998" b="0" spc="5" dirty="0">
                <a:solidFill>
                  <a:schemeClr val="tx1"/>
                </a:solidFill>
              </a:rPr>
              <a:t>© 2019 ООО «Прагматик» </a:t>
            </a:r>
          </a:p>
          <a:p>
            <a:pPr algn="r" eaLnBrk="1" hangingPunct="1">
              <a:spcBef>
                <a:spcPts val="100"/>
              </a:spcBef>
            </a:pPr>
            <a:endParaRPr lang="ru-RU" sz="998" b="0" spc="5" dirty="0">
              <a:solidFill>
                <a:schemeClr val="tx1"/>
              </a:solidFill>
            </a:endParaRPr>
          </a:p>
          <a:p>
            <a:pPr algn="r" eaLnBrk="1" hangingPunct="1">
              <a:spcBef>
                <a:spcPts val="100"/>
              </a:spcBef>
            </a:pPr>
            <a:r>
              <a:rPr lang="ru-RU" sz="998" b="0" spc="5" dirty="0">
                <a:solidFill>
                  <a:schemeClr val="tx1"/>
                </a:solidFill>
              </a:rPr>
              <a:t>125167, Москва</a:t>
            </a:r>
          </a:p>
          <a:p>
            <a:pPr algn="r" eaLnBrk="1" hangingPunct="1">
              <a:spcBef>
                <a:spcPts val="100"/>
              </a:spcBef>
            </a:pPr>
            <a:r>
              <a:rPr lang="ru-RU" sz="998" b="0" spc="5" dirty="0">
                <a:solidFill>
                  <a:schemeClr val="tx1"/>
                </a:solidFill>
              </a:rPr>
              <a:t>Ленинградский проспект, д.36 стр.11</a:t>
            </a:r>
          </a:p>
          <a:p>
            <a:pPr algn="r" eaLnBrk="1" hangingPunct="1">
              <a:spcBef>
                <a:spcPts val="100"/>
              </a:spcBef>
            </a:pPr>
            <a:endParaRPr lang="ru-RU" sz="998" b="0" spc="5" dirty="0">
              <a:solidFill>
                <a:schemeClr val="tx1"/>
              </a:solidFill>
            </a:endParaRPr>
          </a:p>
          <a:p>
            <a:pPr algn="r" eaLnBrk="1" hangingPunct="1">
              <a:spcBef>
                <a:spcPts val="100"/>
              </a:spcBef>
            </a:pPr>
            <a:r>
              <a:rPr lang="ru-RU" sz="998" b="0" spc="5" dirty="0">
                <a:solidFill>
                  <a:schemeClr val="tx1"/>
                </a:solidFill>
              </a:rPr>
              <a:t> +7 495 774</a:t>
            </a:r>
            <a:r>
              <a:rPr lang="en-US" sz="998" b="0" spc="5" dirty="0">
                <a:solidFill>
                  <a:schemeClr val="tx1"/>
                </a:solidFill>
              </a:rPr>
              <a:t> </a:t>
            </a:r>
            <a:r>
              <a:rPr lang="ru-RU" sz="998" b="0" spc="5" dirty="0">
                <a:solidFill>
                  <a:schemeClr val="tx1"/>
                </a:solidFill>
              </a:rPr>
              <a:t>60</a:t>
            </a:r>
            <a:r>
              <a:rPr lang="en-US" sz="998" b="0" spc="5" dirty="0">
                <a:solidFill>
                  <a:schemeClr val="tx1"/>
                </a:solidFill>
              </a:rPr>
              <a:t> </a:t>
            </a:r>
            <a:r>
              <a:rPr lang="ru-RU" sz="998" b="0" spc="5" dirty="0">
                <a:solidFill>
                  <a:schemeClr val="tx1"/>
                </a:solidFill>
              </a:rPr>
              <a:t>68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6415076" y="1701280"/>
            <a:ext cx="5197716" cy="2549416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ru-RU" sz="998" dirty="0"/>
              <a:t>Настоящее предложение подготовлено ООО «Прагматик», зарегистрированной по законодательству Российской Федерации. Предложение вступает в силу во всех отношениях только после обсуждения, согласования и подписания соответствующего договора.</a:t>
            </a:r>
          </a:p>
          <a:p>
            <a:endParaRPr lang="ru-RU" sz="998" dirty="0"/>
          </a:p>
          <a:p>
            <a:r>
              <a:rPr lang="ru-RU" sz="998" dirty="0"/>
              <a:t>ООО «Прагматик» оставляет за собой право:</a:t>
            </a:r>
          </a:p>
          <a:p>
            <a:pPr marL="171124" indent="-171124">
              <a:buFont typeface="Arial" panose="020B0604020202020204" pitchFamily="34" charset="0"/>
              <a:buChar char="•"/>
            </a:pPr>
            <a:r>
              <a:rPr lang="ru-RU" sz="998" dirty="0"/>
              <a:t>изменять условия настоящего предложения по завершении стандартных процедур по управлению рисками, включающих в себя акцептование клиента и предлагаемых услуг и отсутствие конфликта интересов;</a:t>
            </a:r>
          </a:p>
          <a:p>
            <a:pPr marL="171124" indent="-171124">
              <a:buFont typeface="Arial" panose="020B0604020202020204" pitchFamily="34" charset="0"/>
              <a:buChar char="•"/>
            </a:pPr>
            <a:r>
              <a:rPr lang="ru-RU" sz="998" dirty="0"/>
              <a:t>согласовывать и заключать договоры на оказание услуг, включающие общие условия ведения бизнеса компании       ООО «Прагматик».</a:t>
            </a:r>
          </a:p>
          <a:p>
            <a:endParaRPr lang="ru-RU" sz="998" dirty="0"/>
          </a:p>
          <a:p>
            <a:endParaRPr lang="ru-RU" sz="998" dirty="0"/>
          </a:p>
          <a:p>
            <a:r>
              <a:rPr lang="ru-RU" sz="998" dirty="0"/>
              <a:t>Персональные данные, содержащиеся в настоящем Предложении, подлежат обработке в соответствии Федеральным законом от 27.07.2006 №152-ФЗ «О персональных данных».</a:t>
            </a:r>
            <a:endParaRPr lang="en-US" sz="998" dirty="0"/>
          </a:p>
        </p:txBody>
      </p:sp>
      <p:sp>
        <p:nvSpPr>
          <p:cNvPr id="6" name="Rectangle 5"/>
          <p:cNvSpPr/>
          <p:nvPr userDrawn="1"/>
        </p:nvSpPr>
        <p:spPr>
          <a:xfrm>
            <a:off x="6358924" y="1701280"/>
            <a:ext cx="56152" cy="3010624"/>
          </a:xfrm>
          <a:prstGeom prst="rect">
            <a:avLst/>
          </a:prstGeom>
          <a:solidFill>
            <a:schemeClr val="accent1"/>
          </a:solidFill>
          <a:ln w="0" cap="flat" cmpd="sng" algn="ctr">
            <a:noFill/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898" b="0" i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39" t="28658" r="7288" b="28898"/>
          <a:stretch/>
        </p:blipFill>
        <p:spPr>
          <a:xfrm>
            <a:off x="748717" y="6585272"/>
            <a:ext cx="1080598" cy="19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136860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3417279"/>
              </p:ext>
            </p:extLst>
          </p:nvPr>
        </p:nvGraphicFramePr>
        <p:xfrm>
          <a:off x="1589" y="1591"/>
          <a:ext cx="1583" cy="15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73" imgH="473" progId="TCLayout.ActiveDocument.1">
                  <p:embed/>
                </p:oleObj>
              </mc:Choice>
              <mc:Fallback>
                <p:oleObj name="Слайд think-cell" r:id="rId3" imgW="473" imgH="47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3" cy="15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608330" y="274131"/>
            <a:ext cx="10949940" cy="1140883"/>
          </a:xfrm>
          <a:prstGeom prst="rect">
            <a:avLst/>
          </a:prstGeom>
        </p:spPr>
        <p:txBody>
          <a:bodyPr/>
          <a:lstStyle>
            <a:lvl1pPr algn="l">
              <a:defRPr sz="2795"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8330" y="1744285"/>
            <a:ext cx="5373582" cy="4370540"/>
          </a:xfrm>
          <a:prstGeom prst="rect">
            <a:avLst/>
          </a:prstGeom>
        </p:spPr>
        <p:txBody>
          <a:bodyPr/>
          <a:lstStyle>
            <a:lvl1pPr>
              <a:defRPr sz="1460"/>
            </a:lvl1pPr>
            <a:lvl2pPr>
              <a:defRPr sz="1136"/>
            </a:lvl2pPr>
            <a:lvl3pPr>
              <a:defRPr sz="973"/>
            </a:lvl3pPr>
            <a:lvl4pPr>
              <a:defRPr sz="973"/>
            </a:lvl4pPr>
            <a:lvl5pPr>
              <a:defRPr sz="97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84688" y="1744285"/>
            <a:ext cx="5373582" cy="4370540"/>
          </a:xfrm>
          <a:prstGeom prst="rect">
            <a:avLst/>
          </a:prstGeom>
        </p:spPr>
        <p:txBody>
          <a:bodyPr/>
          <a:lstStyle>
            <a:lvl1pPr>
              <a:defRPr sz="1460"/>
            </a:lvl1pPr>
            <a:lvl2pPr>
              <a:defRPr sz="1136"/>
            </a:lvl2pPr>
            <a:lvl3pPr>
              <a:defRPr sz="973"/>
            </a:lvl3pPr>
            <a:lvl4pPr>
              <a:defRPr sz="973"/>
            </a:lvl4pPr>
            <a:lvl5pPr>
              <a:defRPr sz="97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8" name="Нижний колонтитул 4">
            <a:extLst>
              <a:ext uri="{FF2B5EF4-FFF2-40B4-BE49-F238E27FC236}">
                <a16:creationId xmlns:a16="http://schemas.microsoft.com/office/drawing/2014/main" id="{1EA73993-BF8D-45D3-812F-353ADB7BE61E}"/>
              </a:ext>
            </a:extLst>
          </p:cNvPr>
          <p:cNvSpPr txBox="1">
            <a:spLocks/>
          </p:cNvSpPr>
          <p:nvPr userDrawn="1"/>
        </p:nvSpPr>
        <p:spPr>
          <a:xfrm>
            <a:off x="748717" y="6166884"/>
            <a:ext cx="10669174" cy="298128"/>
          </a:xfrm>
          <a:prstGeom prst="rect">
            <a:avLst/>
          </a:prstGeom>
        </p:spPr>
        <p:txBody>
          <a:bodyPr vert="horz" lIns="87010" tIns="43504" rIns="87010" bIns="43504" rtlCol="0" anchor="ctr"/>
          <a:lstStyle>
            <a:defPPr>
              <a:defRPr lang="ru-RU"/>
            </a:defPPr>
            <a:lvl1pPr algn="ctr" defTabSz="536433" rtl="0" eaLnBrk="1" fontAlgn="auto" hangingPunct="1">
              <a:spcBef>
                <a:spcPts val="0"/>
              </a:spcBef>
              <a:spcAft>
                <a:spcPts val="0"/>
              </a:spcAft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34988" indent="-77788" algn="l" defTabSz="534988" rtl="0" eaLnBrk="0" fontAlgn="base" hangingPunct="0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071563" indent="-157163" algn="l" defTabSz="534988" rtl="0" eaLnBrk="0" fontAlgn="base" hangingPunct="0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8138" indent="-236538" algn="l" defTabSz="534988" rtl="0" eaLnBrk="0" fontAlgn="base" hangingPunct="0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44713" indent="-315913" algn="l" defTabSz="534988" rtl="0" eaLnBrk="0" fontAlgn="base" hangingPunct="0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l">
              <a:defRPr/>
            </a:pPr>
            <a:r>
              <a:rPr lang="ru-RU" sz="811" baseline="0" dirty="0"/>
              <a:t>Комментарии</a:t>
            </a:r>
            <a:endParaRPr lang="ru-RU" sz="811" dirty="0"/>
          </a:p>
        </p:txBody>
      </p:sp>
      <p:sp>
        <p:nvSpPr>
          <p:cNvPr id="13" name="Нижний колонтитул 2">
            <a:extLst>
              <a:ext uri="{FF2B5EF4-FFF2-40B4-BE49-F238E27FC236}">
                <a16:creationId xmlns:a16="http://schemas.microsoft.com/office/drawing/2014/main" id="{FCB677EF-396C-4B97-9E93-0399B4C107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211443" y="6594133"/>
            <a:ext cx="3852757" cy="196024"/>
          </a:xfrm>
          <a:prstGeom prst="rect">
            <a:avLst/>
          </a:prstGeom>
        </p:spPr>
        <p:txBody>
          <a:bodyPr anchor="ctr"/>
          <a:lstStyle>
            <a:lvl1pPr algn="l">
              <a:defRPr sz="1098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4" name="Номер слайда 3">
            <a:extLst>
              <a:ext uri="{FF2B5EF4-FFF2-40B4-BE49-F238E27FC236}">
                <a16:creationId xmlns:a16="http://schemas.microsoft.com/office/drawing/2014/main" id="{F8D1901A-1345-402A-80D4-B0ECF861C5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91714" y="6585272"/>
            <a:ext cx="1439729" cy="196024"/>
          </a:xfrm>
          <a:prstGeom prst="rect">
            <a:avLst/>
          </a:prstGeom>
        </p:spPr>
        <p:txBody>
          <a:bodyPr anchor="ctr"/>
          <a:lstStyle>
            <a:lvl1pPr>
              <a:defRPr lang="ru-RU" altLang="ru-RU" sz="1397" smtClean="0"/>
            </a:lvl1pPr>
          </a:lstStyle>
          <a:p>
            <a:pPr algn="r"/>
            <a:fld id="{FC53B5C6-9314-4524-AC64-03D02BB042E3}" type="slidenum">
              <a:rPr lang="en-US" smtClean="0"/>
              <a:pPr algn="r"/>
              <a:t>‹#›</a:t>
            </a:fld>
            <a:endParaRPr lang="en-US" dirty="0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8330" y="0"/>
            <a:ext cx="10949940" cy="2662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98" b="1" baseline="0"/>
            </a:lvl1pPr>
          </a:lstStyle>
          <a:p>
            <a:pPr lvl="0"/>
            <a:r>
              <a:rPr lang="ru-RU" dirty="0"/>
              <a:t>Название раздела</a:t>
            </a:r>
            <a:endParaRPr lang="en-US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608330" y="1544136"/>
            <a:ext cx="5373582" cy="4622748"/>
            <a:chOff x="4460240" y="1198880"/>
            <a:chExt cx="3942080" cy="4602480"/>
          </a:xfrm>
          <a:effectLst/>
        </p:grpSpPr>
        <p:cxnSp>
          <p:nvCxnSpPr>
            <p:cNvPr id="9" name="Straight Connector 8"/>
            <p:cNvCxnSpPr/>
            <p:nvPr userDrawn="1"/>
          </p:nvCxnSpPr>
          <p:spPr>
            <a:xfrm>
              <a:off x="4460240" y="1198880"/>
              <a:ext cx="3942079" cy="311595"/>
            </a:xfrm>
            <a:prstGeom prst="line">
              <a:avLst/>
            </a:prstGeom>
            <a:ln w="19050">
              <a:solidFill>
                <a:schemeClr val="bg2">
                  <a:lumMod val="8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8402320" y="1510475"/>
              <a:ext cx="0" cy="4290885"/>
            </a:xfrm>
            <a:prstGeom prst="line">
              <a:avLst/>
            </a:prstGeom>
            <a:ln w="19050">
              <a:solidFill>
                <a:schemeClr val="bg2">
                  <a:lumMod val="8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Group 29"/>
          <p:cNvGrpSpPr/>
          <p:nvPr userDrawn="1"/>
        </p:nvGrpSpPr>
        <p:grpSpPr>
          <a:xfrm>
            <a:off x="6184688" y="1544136"/>
            <a:ext cx="5373582" cy="4622748"/>
            <a:chOff x="4460240" y="1198880"/>
            <a:chExt cx="3942080" cy="4602480"/>
          </a:xfrm>
          <a:effectLst/>
        </p:grpSpPr>
        <p:cxnSp>
          <p:nvCxnSpPr>
            <p:cNvPr id="31" name="Straight Connector 30"/>
            <p:cNvCxnSpPr/>
            <p:nvPr userDrawn="1"/>
          </p:nvCxnSpPr>
          <p:spPr>
            <a:xfrm>
              <a:off x="4460240" y="1198880"/>
              <a:ext cx="3942079" cy="311595"/>
            </a:xfrm>
            <a:prstGeom prst="line">
              <a:avLst/>
            </a:prstGeom>
            <a:ln w="19050">
              <a:solidFill>
                <a:schemeClr val="bg2">
                  <a:lumMod val="8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8402320" y="1510475"/>
              <a:ext cx="0" cy="4290885"/>
            </a:xfrm>
            <a:prstGeom prst="line">
              <a:avLst/>
            </a:prstGeom>
            <a:ln w="19050">
              <a:solidFill>
                <a:schemeClr val="bg2">
                  <a:lumMod val="8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39" t="28658" r="7288" b="28898"/>
          <a:stretch/>
        </p:blipFill>
        <p:spPr>
          <a:xfrm>
            <a:off x="748717" y="6585272"/>
            <a:ext cx="1080598" cy="19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000475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2722340"/>
              </p:ext>
            </p:extLst>
          </p:nvPr>
        </p:nvGraphicFramePr>
        <p:xfrm>
          <a:off x="1588" y="1589"/>
          <a:ext cx="1583" cy="15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73" imgH="473" progId="TCLayout.ActiveDocument.1">
                  <p:embed/>
                </p:oleObj>
              </mc:Choice>
              <mc:Fallback>
                <p:oleObj name="Слайд think-cell" r:id="rId3" imgW="473" imgH="473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3" cy="15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608330" y="274131"/>
            <a:ext cx="10949940" cy="1140883"/>
          </a:xfrm>
          <a:prstGeom prst="rect">
            <a:avLst/>
          </a:prstGeom>
        </p:spPr>
        <p:txBody>
          <a:bodyPr/>
          <a:lstStyle>
            <a:lvl1pPr algn="l">
              <a:defRPr lang="ru-RU" sz="2795" baseline="0" dirty="0">
                <a:latin typeface="+mn-lt"/>
              </a:defRPr>
            </a:lvl1pPr>
          </a:lstStyle>
          <a:p>
            <a:pPr lvl="0" algn="l"/>
            <a:endParaRPr lang="ru-RU" dirty="0"/>
          </a:p>
        </p:txBody>
      </p:sp>
      <p:sp>
        <p:nvSpPr>
          <p:cNvPr id="7" name="Нижний колонтитул 2">
            <a:extLst>
              <a:ext uri="{FF2B5EF4-FFF2-40B4-BE49-F238E27FC236}">
                <a16:creationId xmlns:a16="http://schemas.microsoft.com/office/drawing/2014/main" id="{FCB677EF-396C-4B97-9E93-0399B4C107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211443" y="6594133"/>
            <a:ext cx="3852757" cy="196024"/>
          </a:xfrm>
          <a:prstGeom prst="rect">
            <a:avLst/>
          </a:prstGeom>
        </p:spPr>
        <p:txBody>
          <a:bodyPr anchor="ctr"/>
          <a:lstStyle>
            <a:lvl1pPr algn="l">
              <a:defRPr sz="1098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8" name="Номер слайда 3">
            <a:extLst>
              <a:ext uri="{FF2B5EF4-FFF2-40B4-BE49-F238E27FC236}">
                <a16:creationId xmlns:a16="http://schemas.microsoft.com/office/drawing/2014/main" id="{F8D1901A-1345-402A-80D4-B0ECF861C5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91714" y="6585272"/>
            <a:ext cx="1439729" cy="196024"/>
          </a:xfrm>
          <a:prstGeom prst="rect">
            <a:avLst/>
          </a:prstGeom>
        </p:spPr>
        <p:txBody>
          <a:bodyPr anchor="ctr"/>
          <a:lstStyle>
            <a:lvl1pPr algn="r">
              <a:defRPr lang="ru-RU" altLang="ru-RU" sz="1198" smtClean="0"/>
            </a:lvl1pPr>
          </a:lstStyle>
          <a:p>
            <a:fld id="{FC53B5C6-9314-4524-AC64-03D02BB042E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8330" y="0"/>
            <a:ext cx="10949940" cy="2662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98" b="1" baseline="0"/>
            </a:lvl1pPr>
          </a:lstStyle>
          <a:p>
            <a:pPr lvl="0"/>
            <a:r>
              <a:rPr lang="ru-RU" dirty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818917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азвание 1"/>
          <p:cNvSpPr>
            <a:spLocks noGrp="1"/>
          </p:cNvSpPr>
          <p:nvPr>
            <p:ph type="title"/>
          </p:nvPr>
        </p:nvSpPr>
        <p:spPr>
          <a:xfrm>
            <a:off x="608330" y="274131"/>
            <a:ext cx="10949940" cy="1140883"/>
          </a:xfrm>
          <a:prstGeom prst="rect">
            <a:avLst/>
          </a:prstGeom>
        </p:spPr>
        <p:txBody>
          <a:bodyPr/>
          <a:lstStyle>
            <a:lvl1pPr>
              <a:defRPr lang="ru-RU" sz="2795" baseline="0" dirty="0">
                <a:latin typeface="+mn-lt"/>
              </a:defRPr>
            </a:lvl1pPr>
          </a:lstStyle>
          <a:p>
            <a:pPr lvl="0" algn="l"/>
            <a:endParaRPr lang="ru-RU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953911" y="2836948"/>
            <a:ext cx="8604359" cy="13817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97"/>
            </a:lvl1pPr>
          </a:lstStyle>
          <a:p>
            <a:pPr lvl="0"/>
            <a:r>
              <a:rPr lang="ru-RU" dirty="0"/>
              <a:t>Опыт работы</a:t>
            </a:r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08331" y="2846424"/>
            <a:ext cx="1504250" cy="23667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098"/>
            </a:lvl1pPr>
          </a:lstStyle>
          <a:p>
            <a:pPr lvl="0"/>
            <a:r>
              <a:rPr lang="ru-RU" dirty="0"/>
              <a:t>Позиция</a:t>
            </a:r>
          </a:p>
          <a:p>
            <a:pPr lvl="0"/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8330" y="0"/>
            <a:ext cx="10949940" cy="2662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98" b="1" baseline="0"/>
            </a:lvl1pPr>
          </a:lstStyle>
          <a:p>
            <a:pPr lvl="0"/>
            <a:r>
              <a:rPr lang="ru-RU" dirty="0"/>
              <a:t>Название раздела</a:t>
            </a:r>
            <a:endParaRPr lang="en-US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953911" y="4405386"/>
            <a:ext cx="8604359" cy="13817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97"/>
            </a:lvl1pPr>
          </a:lstStyle>
          <a:p>
            <a:pPr lvl="0"/>
            <a:r>
              <a:rPr lang="ru-RU" dirty="0"/>
              <a:t>Образование</a:t>
            </a:r>
            <a:endParaRPr lang="en-US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953911" y="1703325"/>
            <a:ext cx="8604359" cy="8841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97"/>
            </a:lvl1pPr>
          </a:lstStyle>
          <a:p>
            <a:pPr lvl="0"/>
            <a:r>
              <a:rPr lang="ru-RU" dirty="0"/>
              <a:t>Общая информация</a:t>
            </a:r>
            <a:endParaRPr lang="en-US" dirty="0"/>
          </a:p>
        </p:txBody>
      </p:sp>
      <p:sp>
        <p:nvSpPr>
          <p:cNvPr id="15" name="Нижний колонтитул 2">
            <a:extLst>
              <a:ext uri="{FF2B5EF4-FFF2-40B4-BE49-F238E27FC236}">
                <a16:creationId xmlns:a16="http://schemas.microsoft.com/office/drawing/2014/main" id="{FCB677EF-396C-4B97-9E93-0399B4C107A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211443" y="6594133"/>
            <a:ext cx="3852757" cy="196024"/>
          </a:xfrm>
          <a:prstGeom prst="rect">
            <a:avLst/>
          </a:prstGeom>
        </p:spPr>
        <p:txBody>
          <a:bodyPr anchor="ctr"/>
          <a:lstStyle>
            <a:lvl1pPr algn="l">
              <a:defRPr sz="1098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6" name="Номер слайда 3">
            <a:extLst>
              <a:ext uri="{FF2B5EF4-FFF2-40B4-BE49-F238E27FC236}">
                <a16:creationId xmlns:a16="http://schemas.microsoft.com/office/drawing/2014/main" id="{F8D1901A-1345-402A-80D4-B0ECF861C5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91714" y="6585272"/>
            <a:ext cx="1439729" cy="196024"/>
          </a:xfrm>
          <a:prstGeom prst="rect">
            <a:avLst/>
          </a:prstGeom>
        </p:spPr>
        <p:txBody>
          <a:bodyPr anchor="ctr"/>
          <a:lstStyle>
            <a:lvl1pPr>
              <a:defRPr lang="ru-RU" altLang="ru-RU" sz="1397" smtClean="0"/>
            </a:lvl1pPr>
          </a:lstStyle>
          <a:p>
            <a:pPr algn="r"/>
            <a:fld id="{FC53B5C6-9314-4524-AC64-03D02BB042E3}" type="slidenum">
              <a:rPr lang="en-US" smtClean="0"/>
              <a:pPr algn="r"/>
              <a:t>‹#›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39" t="28658" r="7288" b="28898"/>
          <a:stretch/>
        </p:blipFill>
        <p:spPr>
          <a:xfrm>
            <a:off x="748717" y="6585272"/>
            <a:ext cx="1080598" cy="19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687735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4734946"/>
              </p:ext>
            </p:extLst>
          </p:nvPr>
        </p:nvGraphicFramePr>
        <p:xfrm>
          <a:off x="1589" y="1591"/>
          <a:ext cx="1583" cy="15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73" imgH="473" progId="TCLayout.ActiveDocument.1">
                  <p:embed/>
                </p:oleObj>
              </mc:Choice>
              <mc:Fallback>
                <p:oleObj name="Слайд think-cell" r:id="rId3" imgW="473" imgH="473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3" cy="15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608332" y="272550"/>
            <a:ext cx="4002728" cy="1159899"/>
          </a:xfrm>
          <a:prstGeom prst="rect">
            <a:avLst/>
          </a:prstGeom>
        </p:spPr>
        <p:txBody>
          <a:bodyPr anchor="b"/>
          <a:lstStyle>
            <a:lvl1pPr algn="l">
              <a:defRPr sz="1865" b="1">
                <a:latin typeface="+mn-lt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56804" y="272553"/>
            <a:ext cx="6801467" cy="5842274"/>
          </a:xfrm>
          <a:prstGeom prst="rect">
            <a:avLst/>
          </a:prstGeom>
        </p:spPr>
        <p:txBody>
          <a:bodyPr/>
          <a:lstStyle>
            <a:lvl1pPr>
              <a:defRPr sz="3082"/>
            </a:lvl1pPr>
            <a:lvl2pPr>
              <a:defRPr sz="2676"/>
            </a:lvl2pPr>
            <a:lvl3pPr>
              <a:defRPr sz="2271"/>
            </a:lvl3pPr>
            <a:lvl4pPr>
              <a:defRPr sz="1865"/>
            </a:lvl4pPr>
            <a:lvl5pPr>
              <a:defRPr sz="1865"/>
            </a:lvl5pPr>
            <a:lvl6pPr>
              <a:defRPr sz="1865"/>
            </a:lvl6pPr>
            <a:lvl7pPr>
              <a:defRPr sz="1865"/>
            </a:lvl7pPr>
            <a:lvl8pPr>
              <a:defRPr sz="1865"/>
            </a:lvl8pPr>
            <a:lvl9pPr>
              <a:defRPr sz="186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8332" y="1432446"/>
            <a:ext cx="4002728" cy="46823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98"/>
            </a:lvl1pPr>
            <a:lvl2pPr marL="435024" indent="0">
              <a:buNone/>
              <a:defRPr sz="1136"/>
            </a:lvl2pPr>
            <a:lvl3pPr marL="870048" indent="0">
              <a:buNone/>
              <a:defRPr sz="973"/>
            </a:lvl3pPr>
            <a:lvl4pPr marL="1305071" indent="0">
              <a:buNone/>
              <a:defRPr sz="892"/>
            </a:lvl4pPr>
            <a:lvl5pPr marL="1740094" indent="0">
              <a:buNone/>
              <a:defRPr sz="892"/>
            </a:lvl5pPr>
            <a:lvl6pPr marL="2175117" indent="0">
              <a:buNone/>
              <a:defRPr sz="892"/>
            </a:lvl6pPr>
            <a:lvl7pPr marL="2610141" indent="0">
              <a:buNone/>
              <a:defRPr sz="892"/>
            </a:lvl7pPr>
            <a:lvl8pPr marL="3045164" indent="0">
              <a:buNone/>
              <a:defRPr sz="892"/>
            </a:lvl8pPr>
            <a:lvl9pPr marL="3480188" indent="0">
              <a:buNone/>
              <a:defRPr sz="89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Нижний колонтитул 4">
            <a:extLst>
              <a:ext uri="{FF2B5EF4-FFF2-40B4-BE49-F238E27FC236}">
                <a16:creationId xmlns:a16="http://schemas.microsoft.com/office/drawing/2014/main" id="{1EA73993-BF8D-45D3-812F-353ADB7BE61E}"/>
              </a:ext>
            </a:extLst>
          </p:cNvPr>
          <p:cNvSpPr txBox="1">
            <a:spLocks/>
          </p:cNvSpPr>
          <p:nvPr userDrawn="1"/>
        </p:nvSpPr>
        <p:spPr>
          <a:xfrm>
            <a:off x="748717" y="6166884"/>
            <a:ext cx="10669174" cy="298128"/>
          </a:xfrm>
          <a:prstGeom prst="rect">
            <a:avLst/>
          </a:prstGeom>
        </p:spPr>
        <p:txBody>
          <a:bodyPr vert="horz" lIns="87010" tIns="43504" rIns="87010" bIns="43504" rtlCol="0" anchor="ctr"/>
          <a:lstStyle>
            <a:defPPr>
              <a:defRPr lang="ru-RU"/>
            </a:defPPr>
            <a:lvl1pPr algn="ctr" defTabSz="536433" rtl="0" eaLnBrk="1" fontAlgn="auto" hangingPunct="1">
              <a:spcBef>
                <a:spcPts val="0"/>
              </a:spcBef>
              <a:spcAft>
                <a:spcPts val="0"/>
              </a:spcAft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34988" indent="-77788" algn="l" defTabSz="534988" rtl="0" eaLnBrk="0" fontAlgn="base" hangingPunct="0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071563" indent="-157163" algn="l" defTabSz="534988" rtl="0" eaLnBrk="0" fontAlgn="base" hangingPunct="0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8138" indent="-236538" algn="l" defTabSz="534988" rtl="0" eaLnBrk="0" fontAlgn="base" hangingPunct="0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44713" indent="-315913" algn="l" defTabSz="534988" rtl="0" eaLnBrk="0" fontAlgn="base" hangingPunct="0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l">
              <a:defRPr/>
            </a:pPr>
            <a:r>
              <a:rPr lang="ru-RU" sz="811" baseline="0" dirty="0"/>
              <a:t>Комментарии</a:t>
            </a:r>
            <a:endParaRPr lang="ru-RU" sz="811" dirty="0"/>
          </a:p>
        </p:txBody>
      </p:sp>
      <p:sp>
        <p:nvSpPr>
          <p:cNvPr id="13" name="Нижний колонтитул 2">
            <a:extLst>
              <a:ext uri="{FF2B5EF4-FFF2-40B4-BE49-F238E27FC236}">
                <a16:creationId xmlns:a16="http://schemas.microsoft.com/office/drawing/2014/main" id="{FCB677EF-396C-4B97-9E93-0399B4C107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211443" y="6594133"/>
            <a:ext cx="3852757" cy="196024"/>
          </a:xfrm>
          <a:prstGeom prst="rect">
            <a:avLst/>
          </a:prstGeom>
        </p:spPr>
        <p:txBody>
          <a:bodyPr anchor="ctr"/>
          <a:lstStyle>
            <a:lvl1pPr algn="l">
              <a:defRPr sz="1098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4" name="Номер слайда 3">
            <a:extLst>
              <a:ext uri="{FF2B5EF4-FFF2-40B4-BE49-F238E27FC236}">
                <a16:creationId xmlns:a16="http://schemas.microsoft.com/office/drawing/2014/main" id="{F8D1901A-1345-402A-80D4-B0ECF861C5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91714" y="6585272"/>
            <a:ext cx="1439729" cy="196024"/>
          </a:xfrm>
          <a:prstGeom prst="rect">
            <a:avLst/>
          </a:prstGeom>
        </p:spPr>
        <p:txBody>
          <a:bodyPr anchor="ctr"/>
          <a:lstStyle>
            <a:lvl1pPr>
              <a:defRPr lang="ru-RU" altLang="ru-RU" sz="1397" smtClean="0"/>
            </a:lvl1pPr>
          </a:lstStyle>
          <a:p>
            <a:pPr algn="r"/>
            <a:fld id="{FC53B5C6-9314-4524-AC64-03D02BB042E3}" type="slidenum">
              <a:rPr lang="en-US" smtClean="0"/>
              <a:pPr algn="r"/>
              <a:t>‹#›</a:t>
            </a:fld>
            <a:endParaRPr lang="en-US" dirty="0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8330" y="0"/>
            <a:ext cx="10949940" cy="2662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98" b="1" baseline="0"/>
            </a:lvl1pPr>
          </a:lstStyle>
          <a:p>
            <a:pPr lvl="0"/>
            <a:r>
              <a:rPr lang="ru-RU" dirty="0"/>
              <a:t>Название раздела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39" t="28658" r="7288" b="28898"/>
          <a:stretch/>
        </p:blipFill>
        <p:spPr>
          <a:xfrm>
            <a:off x="748717" y="6585272"/>
            <a:ext cx="1080598" cy="19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57797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0362494"/>
              </p:ext>
            </p:extLst>
          </p:nvPr>
        </p:nvGraphicFramePr>
        <p:xfrm>
          <a:off x="1589" y="1591"/>
          <a:ext cx="1583" cy="15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73" imgH="473" progId="TCLayout.ActiveDocument.1">
                  <p:embed/>
                </p:oleObj>
              </mc:Choice>
              <mc:Fallback>
                <p:oleObj name="Слайд think-cell" r:id="rId3" imgW="473" imgH="473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3" cy="15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2384738" y="4791717"/>
            <a:ext cx="7299960" cy="565689"/>
          </a:xfrm>
          <a:prstGeom prst="rect">
            <a:avLst/>
          </a:prstGeom>
        </p:spPr>
        <p:txBody>
          <a:bodyPr anchor="b"/>
          <a:lstStyle>
            <a:lvl1pPr algn="l">
              <a:defRPr sz="1865" b="1">
                <a:latin typeface="+mn-lt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4738" y="611640"/>
            <a:ext cx="7299960" cy="41071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82"/>
            </a:lvl1pPr>
            <a:lvl2pPr marL="435024" indent="0">
              <a:buNone/>
              <a:defRPr sz="2676"/>
            </a:lvl2pPr>
            <a:lvl3pPr marL="870048" indent="0">
              <a:buNone/>
              <a:defRPr sz="2271"/>
            </a:lvl3pPr>
            <a:lvl4pPr marL="1305071" indent="0">
              <a:buNone/>
              <a:defRPr sz="1865"/>
            </a:lvl4pPr>
            <a:lvl5pPr marL="1740094" indent="0">
              <a:buNone/>
              <a:defRPr sz="1865"/>
            </a:lvl5pPr>
            <a:lvl6pPr marL="2175117" indent="0">
              <a:buNone/>
              <a:defRPr sz="1865"/>
            </a:lvl6pPr>
            <a:lvl7pPr marL="2610141" indent="0">
              <a:buNone/>
              <a:defRPr sz="1865"/>
            </a:lvl7pPr>
            <a:lvl8pPr marL="3045164" indent="0">
              <a:buNone/>
              <a:defRPr sz="1865"/>
            </a:lvl8pPr>
            <a:lvl9pPr marL="3480188" indent="0">
              <a:buNone/>
              <a:defRPr sz="1865"/>
            </a:lvl9pPr>
          </a:lstStyle>
          <a:p>
            <a:pPr lvl="0"/>
            <a:r>
              <a:rPr lang="ru-RU" noProof="0" dirty="0"/>
              <a:t>Чтобы добавить рисунок, перетащите его на заполнитель или щелкните значок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4738" y="5357405"/>
            <a:ext cx="7299960" cy="8033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98"/>
            </a:lvl1pPr>
            <a:lvl2pPr marL="435024" indent="0">
              <a:buNone/>
              <a:defRPr sz="1136"/>
            </a:lvl2pPr>
            <a:lvl3pPr marL="870048" indent="0">
              <a:buNone/>
              <a:defRPr sz="973"/>
            </a:lvl3pPr>
            <a:lvl4pPr marL="1305071" indent="0">
              <a:buNone/>
              <a:defRPr sz="892"/>
            </a:lvl4pPr>
            <a:lvl5pPr marL="1740094" indent="0">
              <a:buNone/>
              <a:defRPr sz="892"/>
            </a:lvl5pPr>
            <a:lvl6pPr marL="2175117" indent="0">
              <a:buNone/>
              <a:defRPr sz="892"/>
            </a:lvl6pPr>
            <a:lvl7pPr marL="2610141" indent="0">
              <a:buNone/>
              <a:defRPr sz="892"/>
            </a:lvl7pPr>
            <a:lvl8pPr marL="3045164" indent="0">
              <a:buNone/>
              <a:defRPr sz="892"/>
            </a:lvl8pPr>
            <a:lvl9pPr marL="3480188" indent="0">
              <a:buNone/>
              <a:defRPr sz="89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Нижний колонтитул 4">
            <a:extLst>
              <a:ext uri="{FF2B5EF4-FFF2-40B4-BE49-F238E27FC236}">
                <a16:creationId xmlns:a16="http://schemas.microsoft.com/office/drawing/2014/main" id="{1EA73993-BF8D-45D3-812F-353ADB7BE61E}"/>
              </a:ext>
            </a:extLst>
          </p:cNvPr>
          <p:cNvSpPr txBox="1">
            <a:spLocks/>
          </p:cNvSpPr>
          <p:nvPr userDrawn="1"/>
        </p:nvSpPr>
        <p:spPr>
          <a:xfrm>
            <a:off x="748717" y="6166884"/>
            <a:ext cx="10669174" cy="298128"/>
          </a:xfrm>
          <a:prstGeom prst="rect">
            <a:avLst/>
          </a:prstGeom>
        </p:spPr>
        <p:txBody>
          <a:bodyPr vert="horz" lIns="87010" tIns="43504" rIns="87010" bIns="43504" rtlCol="0" anchor="ctr"/>
          <a:lstStyle>
            <a:defPPr>
              <a:defRPr lang="ru-RU"/>
            </a:defPPr>
            <a:lvl1pPr algn="ctr" defTabSz="536433" rtl="0" eaLnBrk="1" fontAlgn="auto" hangingPunct="1">
              <a:spcBef>
                <a:spcPts val="0"/>
              </a:spcBef>
              <a:spcAft>
                <a:spcPts val="0"/>
              </a:spcAft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34988" indent="-77788" algn="l" defTabSz="534988" rtl="0" eaLnBrk="0" fontAlgn="base" hangingPunct="0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071563" indent="-157163" algn="l" defTabSz="534988" rtl="0" eaLnBrk="0" fontAlgn="base" hangingPunct="0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8138" indent="-236538" algn="l" defTabSz="534988" rtl="0" eaLnBrk="0" fontAlgn="base" hangingPunct="0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44713" indent="-315913" algn="l" defTabSz="534988" rtl="0" eaLnBrk="0" fontAlgn="base" hangingPunct="0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l">
              <a:defRPr/>
            </a:pPr>
            <a:r>
              <a:rPr lang="ru-RU" sz="811" baseline="0" dirty="0"/>
              <a:t>Комментарии</a:t>
            </a:r>
            <a:endParaRPr lang="ru-RU" sz="811" dirty="0"/>
          </a:p>
        </p:txBody>
      </p:sp>
      <p:sp>
        <p:nvSpPr>
          <p:cNvPr id="13" name="Нижний колонтитул 2">
            <a:extLst>
              <a:ext uri="{FF2B5EF4-FFF2-40B4-BE49-F238E27FC236}">
                <a16:creationId xmlns:a16="http://schemas.microsoft.com/office/drawing/2014/main" id="{FCB677EF-396C-4B97-9E93-0399B4C107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211443" y="6594133"/>
            <a:ext cx="3852757" cy="196024"/>
          </a:xfrm>
          <a:prstGeom prst="rect">
            <a:avLst/>
          </a:prstGeom>
        </p:spPr>
        <p:txBody>
          <a:bodyPr anchor="ctr"/>
          <a:lstStyle>
            <a:lvl1pPr algn="l">
              <a:defRPr sz="1098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4" name="Номер слайда 3">
            <a:extLst>
              <a:ext uri="{FF2B5EF4-FFF2-40B4-BE49-F238E27FC236}">
                <a16:creationId xmlns:a16="http://schemas.microsoft.com/office/drawing/2014/main" id="{F8D1901A-1345-402A-80D4-B0ECF861C5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91714" y="6585272"/>
            <a:ext cx="1439729" cy="196024"/>
          </a:xfrm>
          <a:prstGeom prst="rect">
            <a:avLst/>
          </a:prstGeom>
        </p:spPr>
        <p:txBody>
          <a:bodyPr anchor="ctr"/>
          <a:lstStyle>
            <a:lvl1pPr>
              <a:defRPr lang="ru-RU" altLang="ru-RU" sz="1397" smtClean="0"/>
            </a:lvl1pPr>
          </a:lstStyle>
          <a:p>
            <a:pPr algn="r"/>
            <a:fld id="{FC53B5C6-9314-4524-AC64-03D02BB042E3}" type="slidenum">
              <a:rPr lang="en-US" smtClean="0"/>
              <a:pPr algn="r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8330" y="0"/>
            <a:ext cx="10949940" cy="2662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98" b="1" baseline="0"/>
            </a:lvl1pPr>
          </a:lstStyle>
          <a:p>
            <a:pPr lvl="0"/>
            <a:r>
              <a:rPr lang="ru-RU" dirty="0"/>
              <a:t>Название раздела</a:t>
            </a:r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39" t="28658" r="7288" b="28898"/>
          <a:stretch/>
        </p:blipFill>
        <p:spPr>
          <a:xfrm>
            <a:off x="748717" y="6585272"/>
            <a:ext cx="1080598" cy="19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853323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2"/>
          <a:ext cx="1583" cy="15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73" imgH="473" progId="TCLayout.ActiveDocument.1">
                  <p:embed/>
                </p:oleObj>
              </mc:Choice>
              <mc:Fallback>
                <p:oleObj name="Слайд think-cell" r:id="rId3" imgW="473" imgH="473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3" cy="15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608330" y="274131"/>
            <a:ext cx="10949940" cy="1140883"/>
          </a:xfrm>
          <a:prstGeom prst="rect">
            <a:avLst/>
          </a:prstGeom>
        </p:spPr>
        <p:txBody>
          <a:bodyPr/>
          <a:lstStyle>
            <a:lvl1pPr>
              <a:defRPr lang="ru-RU" sz="2096" baseline="0" dirty="0">
                <a:latin typeface="+mn-lt"/>
              </a:defRPr>
            </a:lvl1pPr>
          </a:lstStyle>
          <a:p>
            <a:pPr lvl="0" algn="l"/>
            <a:endParaRPr lang="ru-RU" dirty="0"/>
          </a:p>
        </p:txBody>
      </p:sp>
      <p:sp>
        <p:nvSpPr>
          <p:cNvPr id="7" name="Нижний колонтитул 2">
            <a:extLst>
              <a:ext uri="{FF2B5EF4-FFF2-40B4-BE49-F238E27FC236}">
                <a16:creationId xmlns:a16="http://schemas.microsoft.com/office/drawing/2014/main" id="{FCB677EF-396C-4B97-9E93-0399B4C107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211443" y="6594133"/>
            <a:ext cx="3852757" cy="196024"/>
          </a:xfrm>
          <a:prstGeom prst="rect">
            <a:avLst/>
          </a:prstGeom>
        </p:spPr>
        <p:txBody>
          <a:bodyPr anchor="ctr"/>
          <a:lstStyle>
            <a:lvl1pPr algn="l">
              <a:defRPr sz="823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8" name="Номер слайда 3">
            <a:extLst>
              <a:ext uri="{FF2B5EF4-FFF2-40B4-BE49-F238E27FC236}">
                <a16:creationId xmlns:a16="http://schemas.microsoft.com/office/drawing/2014/main" id="{F8D1901A-1345-402A-80D4-B0ECF861C5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91716" y="6585272"/>
            <a:ext cx="1439729" cy="196024"/>
          </a:xfrm>
          <a:prstGeom prst="rect">
            <a:avLst/>
          </a:prstGeom>
        </p:spPr>
        <p:txBody>
          <a:bodyPr anchor="ctr"/>
          <a:lstStyle>
            <a:lvl1pPr>
              <a:defRPr lang="ru-RU" altLang="ru-RU" sz="1048" smtClean="0"/>
            </a:lvl1pPr>
          </a:lstStyle>
          <a:p>
            <a:pPr algn="r"/>
            <a:fld id="{FC53B5C6-9314-4524-AC64-03D02BB042E3}" type="slidenum">
              <a:rPr lang="en-US" smtClean="0"/>
              <a:pPr algn="r"/>
              <a:t>‹#›</a:t>
            </a:fld>
            <a:endParaRPr lang="en-US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8330" y="0"/>
            <a:ext cx="10949940" cy="2662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23" b="1" baseline="0"/>
            </a:lvl1pPr>
          </a:lstStyle>
          <a:p>
            <a:pPr lvl="0"/>
            <a:r>
              <a:rPr lang="ru-RU" dirty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906960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4485FB0D-363E-4716-9668-8A1821E9AF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1579023"/>
              </p:ext>
            </p:extLst>
          </p:nvPr>
        </p:nvGraphicFramePr>
        <p:xfrm>
          <a:off x="1951" y="1585"/>
          <a:ext cx="1950" cy="1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83" imgH="384" progId="TCLayout.ActiveDocument.1">
                  <p:embed/>
                </p:oleObj>
              </mc:Choice>
              <mc:Fallback>
                <p:oleObj name="Слайд think-cell" r:id="rId4" imgW="383" imgH="384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4485FB0D-363E-4716-9668-8A1821E9AF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1" y="1585"/>
                        <a:ext cx="1950" cy="1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5120BAA6-ACF7-4B5F-B260-BCB93F4726E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4978" cy="1584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797" b="1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1B0082A-DDF8-5C4A-ACE3-C6E1B4637A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98AF8D-A1F3-444B-BD02-D3838E0341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4864" y="6344582"/>
            <a:ext cx="10223711" cy="312157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60D1B6-7D4D-A047-9CA5-B155A4F24A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98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fld id="{8B222168-806D-154D-87CF-3FE663D11BC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A46D7660-031D-E74D-9805-6BC90F9A206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4864" y="188563"/>
            <a:ext cx="10059624" cy="35969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136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</a:defRPr>
            </a:lvl1pPr>
            <a:lvl2pPr>
              <a:defRPr sz="1136">
                <a:latin typeface="+mn-lt"/>
              </a:defRPr>
            </a:lvl2pPr>
            <a:lvl3pPr>
              <a:defRPr sz="1136">
                <a:latin typeface="+mn-lt"/>
              </a:defRPr>
            </a:lvl3pPr>
            <a:lvl4pPr>
              <a:defRPr sz="1136">
                <a:latin typeface="+mn-lt"/>
              </a:defRPr>
            </a:lvl4pPr>
            <a:lvl5pPr>
              <a:defRPr sz="1136">
                <a:latin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5121A4C-3055-0D40-9A9D-F479139CEA9E}"/>
              </a:ext>
            </a:extLst>
          </p:cNvPr>
          <p:cNvCxnSpPr/>
          <p:nvPr userDrawn="1"/>
        </p:nvCxnSpPr>
        <p:spPr>
          <a:xfrm>
            <a:off x="514864" y="6297042"/>
            <a:ext cx="11136875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85110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4997E5-8803-4117-BF32-A66686DE489D}" type="datetime1">
              <a:rPr lang="ru-RU" smtClean="0"/>
              <a:t>23.12.2020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4894291"/>
              </p:ext>
            </p:extLst>
          </p:nvPr>
        </p:nvGraphicFramePr>
        <p:xfrm>
          <a:off x="1951" y="1586"/>
          <a:ext cx="1949" cy="15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95" imgH="394" progId="TCLayout.ActiveDocument.1">
                  <p:embed/>
                </p:oleObj>
              </mc:Choice>
              <mc:Fallback>
                <p:oleObj name="Слайд think-cell" r:id="rId3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1" y="1586"/>
                        <a:ext cx="1949" cy="15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14006" y="203485"/>
            <a:ext cx="10138588" cy="168887"/>
          </a:xfrm>
        </p:spPr>
        <p:txBody>
          <a:bodyPr anchor="b"/>
          <a:lstStyle>
            <a:lvl1pPr>
              <a:spcAft>
                <a:spcPct val="0"/>
              </a:spcAft>
              <a:defRPr sz="1198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1430707117"/>
      </p:ext>
    </p:extLst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0531" y="203485"/>
            <a:ext cx="10552063" cy="168887"/>
          </a:xfrm>
        </p:spPr>
        <p:txBody>
          <a:bodyPr anchor="b"/>
          <a:lstStyle>
            <a:lvl1pPr>
              <a:spcAft>
                <a:spcPct val="0"/>
              </a:spcAft>
              <a:defRPr sz="973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898032180"/>
      </p:ext>
    </p:extLst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5657989"/>
              </p:ext>
            </p:extLst>
          </p:nvPr>
        </p:nvGraphicFramePr>
        <p:xfrm>
          <a:off x="1588" y="1589"/>
          <a:ext cx="1583" cy="15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73" imgH="473" progId="TCLayout.ActiveDocument.1">
                  <p:embed/>
                </p:oleObj>
              </mc:Choice>
              <mc:Fallback>
                <p:oleObj name="Слайд think-cell" r:id="rId3" imgW="473" imgH="473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3" cy="15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7878" name="Picture 534" descr="Картинки по запросу scientist">
            <a:extLst>
              <a:ext uri="{FF2B5EF4-FFF2-40B4-BE49-F238E27FC236}">
                <a16:creationId xmlns:a16="http://schemas.microsoft.com/office/drawing/2014/main" id="{C51E2BDE-E1AC-4826-B2EF-D04CD3F935A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37" r="5514"/>
          <a:stretch/>
        </p:blipFill>
        <p:spPr bwMode="auto">
          <a:xfrm flipH="1">
            <a:off x="3169" y="0"/>
            <a:ext cx="12163430" cy="6859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arallelogram 12"/>
          <p:cNvSpPr/>
          <p:nvPr userDrawn="1"/>
        </p:nvSpPr>
        <p:spPr>
          <a:xfrm>
            <a:off x="4629547" y="-74061"/>
            <a:ext cx="7997573" cy="6990350"/>
          </a:xfrm>
          <a:prstGeom prst="parallelogram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03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/>
          <a:srcRect l="20710" t="21510" r="19472" b="17046"/>
          <a:stretch/>
        </p:blipFill>
        <p:spPr>
          <a:xfrm>
            <a:off x="8121926" y="23978"/>
            <a:ext cx="4201029" cy="955630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691398" y="2097006"/>
            <a:ext cx="3531043" cy="148948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marR="0" indent="0" algn="l" defTabSz="53397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US" sz="2395" b="0" baseline="0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>
              <a:defRPr lang="en-US" sz="2096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en-US" sz="2096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en-US" sz="2096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2096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325713" marR="0" lvl="0" indent="-325713" algn="l" defTabSz="53397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2595" b="0" baseline="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Заголовок</a:t>
            </a:r>
            <a:endParaRPr lang="en-US" sz="2595" b="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2" hasCustomPrompt="1"/>
          </p:nvPr>
        </p:nvSpPr>
        <p:spPr>
          <a:xfrm>
            <a:off x="6939209" y="6160770"/>
            <a:ext cx="2935582" cy="25353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>
              <a:buFontTx/>
              <a:buNone/>
              <a:defRPr lang="en-US" sz="973" b="1" baseline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R="0" lvl="0" defTabSz="533972" latinLnBrk="0">
              <a:lnSpc>
                <a:spcPct val="100000"/>
              </a:lnSpc>
              <a:spcBef>
                <a:spcPct val="0"/>
              </a:spcBef>
              <a:buClrTx/>
              <a:buSzTx/>
              <a:tabLst/>
            </a:pPr>
            <a:r>
              <a:rPr lang="ru-RU" dirty="0"/>
              <a:t>Дата</a:t>
            </a:r>
            <a:endParaRPr lang="en-US" dirty="0"/>
          </a:p>
        </p:txBody>
      </p:sp>
      <p:sp>
        <p:nvSpPr>
          <p:cNvPr id="23" name="Content Placeholder 15"/>
          <p:cNvSpPr>
            <a:spLocks noGrp="1"/>
          </p:cNvSpPr>
          <p:nvPr>
            <p:ph sz="quarter" idx="13" hasCustomPrompt="1"/>
          </p:nvPr>
        </p:nvSpPr>
        <p:spPr>
          <a:xfrm>
            <a:off x="6939209" y="5770334"/>
            <a:ext cx="2935582" cy="25353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>
              <a:buFontTx/>
              <a:buNone/>
              <a:defRPr lang="en-US" sz="973" b="1" baseline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R="0" lvl="0" defTabSz="533972" latinLnBrk="0">
              <a:lnSpc>
                <a:spcPct val="100000"/>
              </a:lnSpc>
              <a:spcBef>
                <a:spcPct val="0"/>
              </a:spcBef>
              <a:buClrTx/>
              <a:buSzTx/>
              <a:tabLst/>
            </a:pPr>
            <a:r>
              <a:rPr lang="ru-RU" dirty="0"/>
              <a:t>Коммерческое предложение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51718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1304327"/>
              </p:ext>
            </p:extLst>
          </p:nvPr>
        </p:nvGraphicFramePr>
        <p:xfrm>
          <a:off x="1588" y="1589"/>
          <a:ext cx="1583" cy="15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73" imgH="473" progId="TCLayout.ActiveDocument.1">
                  <p:embed/>
                </p:oleObj>
              </mc:Choice>
              <mc:Fallback>
                <p:oleObj name="Слайд think-cell" r:id="rId3" imgW="473" imgH="473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3" cy="15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3517598" y="1597237"/>
            <a:ext cx="7346828" cy="1359553"/>
          </a:xfrm>
          <a:prstGeom prst="rect">
            <a:avLst/>
          </a:prstGeom>
        </p:spPr>
        <p:txBody>
          <a:bodyPr anchor="t"/>
          <a:lstStyle>
            <a:lvl1pPr algn="l">
              <a:defRPr sz="2795" b="1" cap="all"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517598" y="700151"/>
            <a:ext cx="6610748" cy="70693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1pPr>
            <a:lvl2pPr marL="435024" indent="0">
              <a:buNone/>
              <a:defRPr sz="1703">
                <a:solidFill>
                  <a:schemeClr val="tx1">
                    <a:tint val="75000"/>
                  </a:schemeClr>
                </a:solidFill>
              </a:defRPr>
            </a:lvl2pPr>
            <a:lvl3pPr marL="870048" indent="0">
              <a:buNone/>
              <a:defRPr sz="1541">
                <a:solidFill>
                  <a:schemeClr val="tx1">
                    <a:tint val="75000"/>
                  </a:schemeClr>
                </a:solidFill>
              </a:defRPr>
            </a:lvl3pPr>
            <a:lvl4pPr marL="1305071" indent="0">
              <a:buNone/>
              <a:defRPr sz="1298">
                <a:solidFill>
                  <a:schemeClr val="tx1">
                    <a:tint val="75000"/>
                  </a:schemeClr>
                </a:solidFill>
              </a:defRPr>
            </a:lvl4pPr>
            <a:lvl5pPr marL="1740094" indent="0">
              <a:buNone/>
              <a:defRPr sz="1298">
                <a:solidFill>
                  <a:schemeClr val="tx1">
                    <a:tint val="75000"/>
                  </a:schemeClr>
                </a:solidFill>
              </a:defRPr>
            </a:lvl5pPr>
            <a:lvl6pPr marL="2175117" indent="0">
              <a:buNone/>
              <a:defRPr sz="1298">
                <a:solidFill>
                  <a:schemeClr val="tx1">
                    <a:tint val="75000"/>
                  </a:schemeClr>
                </a:solidFill>
              </a:defRPr>
            </a:lvl6pPr>
            <a:lvl7pPr marL="2610141" indent="0">
              <a:buNone/>
              <a:defRPr sz="1298">
                <a:solidFill>
                  <a:schemeClr val="tx1">
                    <a:tint val="75000"/>
                  </a:schemeClr>
                </a:solidFill>
              </a:defRPr>
            </a:lvl7pPr>
            <a:lvl8pPr marL="3045164" indent="0">
              <a:buNone/>
              <a:defRPr sz="1298">
                <a:solidFill>
                  <a:schemeClr val="tx1">
                    <a:tint val="75000"/>
                  </a:schemeClr>
                </a:solidFill>
              </a:defRPr>
            </a:lvl8pPr>
            <a:lvl9pPr marL="3480188" indent="0">
              <a:buNone/>
              <a:defRPr sz="129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3" name="Номер слайда 3">
            <a:extLst>
              <a:ext uri="{FF2B5EF4-FFF2-40B4-BE49-F238E27FC236}">
                <a16:creationId xmlns:a16="http://schemas.microsoft.com/office/drawing/2014/main" id="{F8D1901A-1345-402A-80D4-B0ECF861C5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91714" y="6585272"/>
            <a:ext cx="1439729" cy="196024"/>
          </a:xfrm>
          <a:prstGeom prst="rect">
            <a:avLst/>
          </a:prstGeom>
        </p:spPr>
        <p:txBody>
          <a:bodyPr anchor="ctr"/>
          <a:lstStyle>
            <a:lvl1pPr algn="r">
              <a:defRPr sz="1397" smtClean="0"/>
            </a:lvl1pPr>
          </a:lstStyle>
          <a:p>
            <a:pPr>
              <a:defRPr/>
            </a:pPr>
            <a:fld id="{FC53B5C6-9314-4524-AC64-03D02BB042E3}" type="slidenum">
              <a:rPr lang="ru-RU" altLang="ru-RU" smtClean="0"/>
              <a:pPr>
                <a:defRPr/>
              </a:pPr>
              <a:t>‹#›</a:t>
            </a:fld>
            <a:endParaRPr lang="ru-RU" altLang="ru-RU" dirty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39" t="28658" r="7288" b="28898"/>
          <a:stretch/>
        </p:blipFill>
        <p:spPr>
          <a:xfrm>
            <a:off x="10296331" y="121220"/>
            <a:ext cx="1598497" cy="289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881827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исьм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6889538"/>
              </p:ext>
            </p:extLst>
          </p:nvPr>
        </p:nvGraphicFramePr>
        <p:xfrm>
          <a:off x="1588" y="1589"/>
          <a:ext cx="1583" cy="15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73" imgH="473" progId="TCLayout.ActiveDocument.1">
                  <p:embed/>
                </p:oleObj>
              </mc:Choice>
              <mc:Fallback>
                <p:oleObj name="Слайд think-cell" r:id="rId3" imgW="473" imgH="473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3" cy="15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FCB677EF-396C-4B97-9E93-0399B4C107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211443" y="6594133"/>
            <a:ext cx="3852757" cy="196024"/>
          </a:xfrm>
          <a:prstGeom prst="rect">
            <a:avLst/>
          </a:prstGeom>
        </p:spPr>
        <p:txBody>
          <a:bodyPr anchor="ctr"/>
          <a:lstStyle>
            <a:lvl1pPr algn="l">
              <a:defRPr sz="1098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F8D1901A-1345-402A-80D4-B0ECF861C5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91714" y="6585272"/>
            <a:ext cx="1439729" cy="196024"/>
          </a:xfrm>
          <a:prstGeom prst="rect">
            <a:avLst/>
          </a:prstGeom>
        </p:spPr>
        <p:txBody>
          <a:bodyPr anchor="ctr"/>
          <a:lstStyle>
            <a:lvl1pPr>
              <a:defRPr lang="ru-RU" altLang="ru-RU" sz="1397" smtClean="0"/>
            </a:lvl1pPr>
          </a:lstStyle>
          <a:p>
            <a:pPr algn="r"/>
            <a:fld id="{FC53B5C6-9314-4524-AC64-03D02BB042E3}" type="slidenum">
              <a:rPr lang="en-US" smtClean="0"/>
              <a:pPr algn="r"/>
              <a:t>‹#›</a:t>
            </a:fld>
            <a:endParaRPr lang="en-US" dirty="0"/>
          </a:p>
        </p:txBody>
      </p:sp>
      <p:sp>
        <p:nvSpPr>
          <p:cNvPr id="14" name="Прямоугольник 13"/>
          <p:cNvSpPr>
            <a:spLocks noChangeArrowheads="1"/>
          </p:cNvSpPr>
          <p:nvPr userDrawn="1"/>
        </p:nvSpPr>
        <p:spPr bwMode="auto">
          <a:xfrm>
            <a:off x="608330" y="1610906"/>
            <a:ext cx="5267084" cy="29729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27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ts val="100"/>
              </a:spcBef>
            </a:pPr>
            <a:r>
              <a:rPr lang="ru-RU" altLang="ru-RU" sz="1198" dirty="0"/>
              <a:t>Мы приветствуем вас от имени консалтингового бюро</a:t>
            </a:r>
            <a:r>
              <a:rPr lang="en-US" altLang="ru-RU" sz="1198" dirty="0"/>
              <a:t> </a:t>
            </a:r>
            <a:r>
              <a:rPr lang="ru-RU" altLang="ru-RU" sz="1198" dirty="0"/>
              <a:t>«Прагматик».</a:t>
            </a:r>
            <a:endParaRPr lang="en-US" altLang="ru-RU" sz="1198" dirty="0"/>
          </a:p>
          <a:p>
            <a:pPr eaLnBrk="1" hangingPunct="1">
              <a:spcBef>
                <a:spcPts val="100"/>
              </a:spcBef>
            </a:pPr>
            <a:endParaRPr lang="en-US" altLang="ru-RU" sz="1198" dirty="0"/>
          </a:p>
          <a:p>
            <a:pPr marL="12676" marR="0" lvl="0" indent="0" algn="l" defTabSz="533972" rtl="0" eaLnBrk="1" fontAlgn="base" latinLnBrk="0" hangingPunct="1">
              <a:lnSpc>
                <a:spcPct val="100000"/>
              </a:lnSpc>
              <a:spcBef>
                <a:spcPts val="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sz="1198" dirty="0"/>
              <a:t>В наше бюро более 30 специалистов по аудиту, оценке и консалтингу оказывают услуги мирового качества российским компаниям и представительствам иностранных концернов на территории Российской Федерации.</a:t>
            </a:r>
          </a:p>
          <a:p>
            <a:pPr eaLnBrk="1" hangingPunct="1">
              <a:spcBef>
                <a:spcPts val="100"/>
              </a:spcBef>
            </a:pPr>
            <a:endParaRPr lang="en-US" altLang="ru-RU" sz="1198" dirty="0"/>
          </a:p>
          <a:p>
            <a:pPr defTabSz="53541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98" dirty="0"/>
              <a:t>Наши специалисты по аудиту, бизнес-консультированию и смежных направлениям используют возможности «бесшовного» консалтинга, при котором глубокие знания, а также большой отраслевой опыт помогает нашим клиентам получить качественный результат при разумных затратах. </a:t>
            </a:r>
          </a:p>
          <a:p>
            <a:pPr defTabSz="53541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198" dirty="0"/>
          </a:p>
          <a:p>
            <a:pPr defTabSz="53541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98" spc="5" dirty="0"/>
              <a:t>С уважением</a:t>
            </a:r>
            <a:r>
              <a:rPr lang="en-US" sz="1198" spc="5" dirty="0"/>
              <a:t>,</a:t>
            </a:r>
          </a:p>
          <a:p>
            <a:pPr marL="0" lvl="2" indent="0">
              <a:spcBef>
                <a:spcPts val="599"/>
              </a:spcBef>
            </a:pPr>
            <a:r>
              <a:rPr lang="ru-RU" altLang="en-US" sz="1198" b="0" dirty="0">
                <a:solidFill>
                  <a:schemeClr val="tx1"/>
                </a:solidFill>
              </a:rPr>
              <a:t>Команда</a:t>
            </a:r>
            <a:r>
              <a:rPr lang="ru-RU" altLang="en-US" sz="1198" b="0" baseline="0" dirty="0">
                <a:solidFill>
                  <a:schemeClr val="tx1"/>
                </a:solidFill>
              </a:rPr>
              <a:t> П</a:t>
            </a:r>
            <a:r>
              <a:rPr lang="ru-RU" altLang="en-US" sz="1198" b="0" dirty="0">
                <a:solidFill>
                  <a:schemeClr val="tx1"/>
                </a:solidFill>
              </a:rPr>
              <a:t>рагматик</a:t>
            </a:r>
            <a:endParaRPr lang="ru-RU" altLang="en-US" sz="1098" b="0" dirty="0">
              <a:solidFill>
                <a:schemeClr val="tx1"/>
              </a:solidFill>
            </a:endParaRPr>
          </a:p>
        </p:txBody>
      </p:sp>
      <p:sp>
        <p:nvSpPr>
          <p:cNvPr id="17" name="Прямоугольник 13"/>
          <p:cNvSpPr>
            <a:spLocks noChangeArrowheads="1"/>
          </p:cNvSpPr>
          <p:nvPr userDrawn="1"/>
        </p:nvSpPr>
        <p:spPr bwMode="auto">
          <a:xfrm>
            <a:off x="584896" y="161584"/>
            <a:ext cx="5474970" cy="398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Ins="91271">
            <a:spAutoFit/>
          </a:bodyPr>
          <a:lstStyle>
            <a:lvl1pPr marL="127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ts val="100"/>
              </a:spcBef>
            </a:pPr>
            <a:r>
              <a:rPr lang="ru-RU" sz="998" b="1" spc="5" dirty="0">
                <a:solidFill>
                  <a:schemeClr val="accent1"/>
                </a:solidFill>
              </a:rPr>
              <a:t>Конфиденциально					</a:t>
            </a:r>
            <a:endParaRPr lang="en-US" sz="998" b="1" spc="5" dirty="0">
              <a:solidFill>
                <a:schemeClr val="accent1"/>
              </a:solidFill>
            </a:endParaRPr>
          </a:p>
        </p:txBody>
      </p:sp>
      <p:sp>
        <p:nvSpPr>
          <p:cNvPr id="18" name="Прямоугольник 13"/>
          <p:cNvSpPr>
            <a:spLocks noChangeArrowheads="1"/>
          </p:cNvSpPr>
          <p:nvPr userDrawn="1"/>
        </p:nvSpPr>
        <p:spPr bwMode="auto">
          <a:xfrm>
            <a:off x="6137821" y="248369"/>
            <a:ext cx="5474970" cy="1077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Ins="91271">
            <a:spAutoFit/>
          </a:bodyPr>
          <a:lstStyle>
            <a:lvl1pPr marL="127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534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spcBef>
                <a:spcPts val="100"/>
              </a:spcBef>
            </a:pPr>
            <a:r>
              <a:rPr lang="ru-RU" sz="998" b="0" spc="5" dirty="0">
                <a:solidFill>
                  <a:schemeClr val="tx1"/>
                </a:solidFill>
              </a:rPr>
              <a:t>© 2019 ООО «Прагматик» </a:t>
            </a:r>
          </a:p>
          <a:p>
            <a:pPr algn="r" eaLnBrk="1" hangingPunct="1">
              <a:spcBef>
                <a:spcPts val="100"/>
              </a:spcBef>
            </a:pPr>
            <a:endParaRPr lang="ru-RU" sz="998" b="0" spc="5" dirty="0">
              <a:solidFill>
                <a:schemeClr val="tx1"/>
              </a:solidFill>
            </a:endParaRPr>
          </a:p>
          <a:p>
            <a:pPr algn="r" eaLnBrk="1" hangingPunct="1">
              <a:spcBef>
                <a:spcPts val="100"/>
              </a:spcBef>
            </a:pPr>
            <a:r>
              <a:rPr lang="ru-RU" sz="998" b="0" spc="5" dirty="0">
                <a:solidFill>
                  <a:schemeClr val="tx1"/>
                </a:solidFill>
              </a:rPr>
              <a:t>125167, Москва</a:t>
            </a:r>
          </a:p>
          <a:p>
            <a:pPr algn="r" eaLnBrk="1" hangingPunct="1">
              <a:spcBef>
                <a:spcPts val="100"/>
              </a:spcBef>
            </a:pPr>
            <a:r>
              <a:rPr lang="ru-RU" sz="998" b="0" spc="5" dirty="0">
                <a:solidFill>
                  <a:schemeClr val="tx1"/>
                </a:solidFill>
              </a:rPr>
              <a:t>Ленинградский проспект, д.36 стр.11</a:t>
            </a:r>
          </a:p>
          <a:p>
            <a:pPr algn="r" eaLnBrk="1" hangingPunct="1">
              <a:spcBef>
                <a:spcPts val="100"/>
              </a:spcBef>
            </a:pPr>
            <a:endParaRPr lang="ru-RU" sz="998" b="0" spc="5" dirty="0">
              <a:solidFill>
                <a:schemeClr val="tx1"/>
              </a:solidFill>
            </a:endParaRPr>
          </a:p>
          <a:p>
            <a:pPr algn="r" eaLnBrk="1" hangingPunct="1">
              <a:spcBef>
                <a:spcPts val="100"/>
              </a:spcBef>
            </a:pPr>
            <a:r>
              <a:rPr lang="ru-RU" sz="998" b="0" spc="5" dirty="0">
                <a:solidFill>
                  <a:schemeClr val="tx1"/>
                </a:solidFill>
              </a:rPr>
              <a:t> +7 495 774</a:t>
            </a:r>
            <a:r>
              <a:rPr lang="en-US" sz="998" b="0" spc="5" dirty="0">
                <a:solidFill>
                  <a:schemeClr val="tx1"/>
                </a:solidFill>
              </a:rPr>
              <a:t> </a:t>
            </a:r>
            <a:r>
              <a:rPr lang="ru-RU" sz="998" b="0" spc="5" dirty="0">
                <a:solidFill>
                  <a:schemeClr val="tx1"/>
                </a:solidFill>
              </a:rPr>
              <a:t>60</a:t>
            </a:r>
            <a:r>
              <a:rPr lang="en-US" sz="998" b="0" spc="5" dirty="0">
                <a:solidFill>
                  <a:schemeClr val="tx1"/>
                </a:solidFill>
              </a:rPr>
              <a:t> </a:t>
            </a:r>
            <a:r>
              <a:rPr lang="ru-RU" sz="998" b="0" spc="5" dirty="0">
                <a:solidFill>
                  <a:schemeClr val="tx1"/>
                </a:solidFill>
              </a:rPr>
              <a:t>68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6415076" y="1701280"/>
            <a:ext cx="5197716" cy="2549416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ru-RU" sz="998" dirty="0"/>
              <a:t>Настоящее предложение подготовлено ООО «Прагматик», зарегистрированной по законодательству Российской Федерации. Предложение вступает в силу во всех отношениях только после обсуждения, согласования и подписания соответствующего договора.</a:t>
            </a:r>
          </a:p>
          <a:p>
            <a:endParaRPr lang="ru-RU" sz="998" dirty="0"/>
          </a:p>
          <a:p>
            <a:r>
              <a:rPr lang="ru-RU" sz="998" dirty="0"/>
              <a:t>ООО «Прагматик» оставляет за собой право:</a:t>
            </a:r>
          </a:p>
          <a:p>
            <a:pPr marL="171124" indent="-171124">
              <a:buFont typeface="Arial" panose="020B0604020202020204" pitchFamily="34" charset="0"/>
              <a:buChar char="•"/>
            </a:pPr>
            <a:r>
              <a:rPr lang="ru-RU" sz="998" dirty="0"/>
              <a:t>изменять условия настоящего предложения по завершении стандартных процедур по управлению рисками, включающих в себя акцептование клиента и предлагаемых услуг и отсутствие конфликта интересов;</a:t>
            </a:r>
          </a:p>
          <a:p>
            <a:pPr marL="171124" indent="-171124">
              <a:buFont typeface="Arial" panose="020B0604020202020204" pitchFamily="34" charset="0"/>
              <a:buChar char="•"/>
            </a:pPr>
            <a:r>
              <a:rPr lang="ru-RU" sz="998" dirty="0"/>
              <a:t>согласовывать и заключать договоры на оказание услуг, включающие общие условия ведения бизнеса компании       ООО «Прагматик».</a:t>
            </a:r>
          </a:p>
          <a:p>
            <a:endParaRPr lang="ru-RU" sz="998" dirty="0"/>
          </a:p>
          <a:p>
            <a:endParaRPr lang="ru-RU" sz="998" dirty="0"/>
          </a:p>
          <a:p>
            <a:r>
              <a:rPr lang="ru-RU" sz="998" dirty="0"/>
              <a:t>Персональные данные, содержащиеся в настоящем Предложении, подлежат обработке в соответствии Федеральным законом от 27.07.2006 №152-ФЗ «О персональных данных».</a:t>
            </a:r>
            <a:endParaRPr lang="en-US" sz="998" dirty="0"/>
          </a:p>
        </p:txBody>
      </p:sp>
      <p:sp>
        <p:nvSpPr>
          <p:cNvPr id="6" name="Rectangle 5"/>
          <p:cNvSpPr/>
          <p:nvPr userDrawn="1"/>
        </p:nvSpPr>
        <p:spPr>
          <a:xfrm>
            <a:off x="6358924" y="1701280"/>
            <a:ext cx="56152" cy="3010624"/>
          </a:xfrm>
          <a:prstGeom prst="rect">
            <a:avLst/>
          </a:prstGeom>
          <a:solidFill>
            <a:schemeClr val="accent1"/>
          </a:solidFill>
          <a:ln w="0" cap="flat" cmpd="sng" algn="ctr">
            <a:noFill/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898" b="0" i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39" t="28658" r="7288" b="28898"/>
          <a:stretch/>
        </p:blipFill>
        <p:spPr>
          <a:xfrm>
            <a:off x="748717" y="6585272"/>
            <a:ext cx="1080598" cy="19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275976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6443632"/>
              </p:ext>
            </p:extLst>
          </p:nvPr>
        </p:nvGraphicFramePr>
        <p:xfrm>
          <a:off x="1589" y="1591"/>
          <a:ext cx="1583" cy="15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73" imgH="473" progId="TCLayout.ActiveDocument.1">
                  <p:embed/>
                </p:oleObj>
              </mc:Choice>
              <mc:Fallback>
                <p:oleObj name="Слайд think-cell" r:id="rId3" imgW="473" imgH="47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3" cy="15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608330" y="274131"/>
            <a:ext cx="10949940" cy="1140883"/>
          </a:xfrm>
          <a:prstGeom prst="rect">
            <a:avLst/>
          </a:prstGeom>
        </p:spPr>
        <p:txBody>
          <a:bodyPr/>
          <a:lstStyle>
            <a:lvl1pPr algn="l">
              <a:defRPr sz="2795"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8330" y="1744285"/>
            <a:ext cx="5373582" cy="4370540"/>
          </a:xfrm>
          <a:prstGeom prst="rect">
            <a:avLst/>
          </a:prstGeom>
        </p:spPr>
        <p:txBody>
          <a:bodyPr/>
          <a:lstStyle>
            <a:lvl1pPr>
              <a:defRPr sz="1460"/>
            </a:lvl1pPr>
            <a:lvl2pPr>
              <a:defRPr sz="1136"/>
            </a:lvl2pPr>
            <a:lvl3pPr>
              <a:defRPr sz="973"/>
            </a:lvl3pPr>
            <a:lvl4pPr>
              <a:defRPr sz="973"/>
            </a:lvl4pPr>
            <a:lvl5pPr>
              <a:defRPr sz="97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84688" y="1744285"/>
            <a:ext cx="5373582" cy="4370540"/>
          </a:xfrm>
          <a:prstGeom prst="rect">
            <a:avLst/>
          </a:prstGeom>
        </p:spPr>
        <p:txBody>
          <a:bodyPr/>
          <a:lstStyle>
            <a:lvl1pPr>
              <a:defRPr sz="1460"/>
            </a:lvl1pPr>
            <a:lvl2pPr>
              <a:defRPr sz="1136"/>
            </a:lvl2pPr>
            <a:lvl3pPr>
              <a:defRPr sz="973"/>
            </a:lvl3pPr>
            <a:lvl4pPr>
              <a:defRPr sz="973"/>
            </a:lvl4pPr>
            <a:lvl5pPr>
              <a:defRPr sz="97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8" name="Нижний колонтитул 4">
            <a:extLst>
              <a:ext uri="{FF2B5EF4-FFF2-40B4-BE49-F238E27FC236}">
                <a16:creationId xmlns:a16="http://schemas.microsoft.com/office/drawing/2014/main" id="{1EA73993-BF8D-45D3-812F-353ADB7BE61E}"/>
              </a:ext>
            </a:extLst>
          </p:cNvPr>
          <p:cNvSpPr txBox="1">
            <a:spLocks/>
          </p:cNvSpPr>
          <p:nvPr userDrawn="1"/>
        </p:nvSpPr>
        <p:spPr>
          <a:xfrm>
            <a:off x="748717" y="6166884"/>
            <a:ext cx="10669174" cy="298128"/>
          </a:xfrm>
          <a:prstGeom prst="rect">
            <a:avLst/>
          </a:prstGeom>
        </p:spPr>
        <p:txBody>
          <a:bodyPr vert="horz" lIns="87010" tIns="43504" rIns="87010" bIns="43504" rtlCol="0" anchor="ctr"/>
          <a:lstStyle>
            <a:defPPr>
              <a:defRPr lang="ru-RU"/>
            </a:defPPr>
            <a:lvl1pPr algn="ctr" defTabSz="536433" rtl="0" eaLnBrk="1" fontAlgn="auto" hangingPunct="1">
              <a:spcBef>
                <a:spcPts val="0"/>
              </a:spcBef>
              <a:spcAft>
                <a:spcPts val="0"/>
              </a:spcAft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34988" indent="-77788" algn="l" defTabSz="534988" rtl="0" eaLnBrk="0" fontAlgn="base" hangingPunct="0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071563" indent="-157163" algn="l" defTabSz="534988" rtl="0" eaLnBrk="0" fontAlgn="base" hangingPunct="0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8138" indent="-236538" algn="l" defTabSz="534988" rtl="0" eaLnBrk="0" fontAlgn="base" hangingPunct="0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44713" indent="-315913" algn="l" defTabSz="534988" rtl="0" eaLnBrk="0" fontAlgn="base" hangingPunct="0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l">
              <a:defRPr/>
            </a:pPr>
            <a:r>
              <a:rPr lang="ru-RU" sz="811" baseline="0" dirty="0"/>
              <a:t>Комментарии</a:t>
            </a:r>
            <a:endParaRPr lang="ru-RU" sz="811" dirty="0"/>
          </a:p>
        </p:txBody>
      </p:sp>
      <p:sp>
        <p:nvSpPr>
          <p:cNvPr id="13" name="Нижний колонтитул 2">
            <a:extLst>
              <a:ext uri="{FF2B5EF4-FFF2-40B4-BE49-F238E27FC236}">
                <a16:creationId xmlns:a16="http://schemas.microsoft.com/office/drawing/2014/main" id="{FCB677EF-396C-4B97-9E93-0399B4C107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211443" y="6594133"/>
            <a:ext cx="3852757" cy="196024"/>
          </a:xfrm>
          <a:prstGeom prst="rect">
            <a:avLst/>
          </a:prstGeom>
        </p:spPr>
        <p:txBody>
          <a:bodyPr anchor="ctr"/>
          <a:lstStyle>
            <a:lvl1pPr algn="l">
              <a:defRPr sz="1098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4" name="Номер слайда 3">
            <a:extLst>
              <a:ext uri="{FF2B5EF4-FFF2-40B4-BE49-F238E27FC236}">
                <a16:creationId xmlns:a16="http://schemas.microsoft.com/office/drawing/2014/main" id="{F8D1901A-1345-402A-80D4-B0ECF861C5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91714" y="6585272"/>
            <a:ext cx="1439729" cy="196024"/>
          </a:xfrm>
          <a:prstGeom prst="rect">
            <a:avLst/>
          </a:prstGeom>
        </p:spPr>
        <p:txBody>
          <a:bodyPr anchor="ctr"/>
          <a:lstStyle>
            <a:lvl1pPr>
              <a:defRPr lang="ru-RU" altLang="ru-RU" sz="1397" smtClean="0"/>
            </a:lvl1pPr>
          </a:lstStyle>
          <a:p>
            <a:pPr algn="r"/>
            <a:fld id="{FC53B5C6-9314-4524-AC64-03D02BB042E3}" type="slidenum">
              <a:rPr lang="en-US" smtClean="0"/>
              <a:pPr algn="r"/>
              <a:t>‹#›</a:t>
            </a:fld>
            <a:endParaRPr lang="en-US" dirty="0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8330" y="0"/>
            <a:ext cx="10949940" cy="2662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98" b="1" baseline="0"/>
            </a:lvl1pPr>
          </a:lstStyle>
          <a:p>
            <a:pPr lvl="0"/>
            <a:r>
              <a:rPr lang="ru-RU" dirty="0"/>
              <a:t>Название раздела</a:t>
            </a:r>
            <a:endParaRPr lang="en-US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608330" y="1544136"/>
            <a:ext cx="5373582" cy="4622748"/>
            <a:chOff x="4460240" y="1198880"/>
            <a:chExt cx="3942080" cy="4602480"/>
          </a:xfrm>
          <a:effectLst/>
        </p:grpSpPr>
        <p:cxnSp>
          <p:nvCxnSpPr>
            <p:cNvPr id="9" name="Straight Connector 8"/>
            <p:cNvCxnSpPr/>
            <p:nvPr userDrawn="1"/>
          </p:nvCxnSpPr>
          <p:spPr>
            <a:xfrm>
              <a:off x="4460240" y="1198880"/>
              <a:ext cx="3942079" cy="311595"/>
            </a:xfrm>
            <a:prstGeom prst="line">
              <a:avLst/>
            </a:prstGeom>
            <a:ln w="19050">
              <a:solidFill>
                <a:schemeClr val="bg2">
                  <a:lumMod val="8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8402320" y="1510475"/>
              <a:ext cx="0" cy="4290885"/>
            </a:xfrm>
            <a:prstGeom prst="line">
              <a:avLst/>
            </a:prstGeom>
            <a:ln w="19050">
              <a:solidFill>
                <a:schemeClr val="bg2">
                  <a:lumMod val="8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Group 29"/>
          <p:cNvGrpSpPr/>
          <p:nvPr userDrawn="1"/>
        </p:nvGrpSpPr>
        <p:grpSpPr>
          <a:xfrm>
            <a:off x="6184688" y="1544136"/>
            <a:ext cx="5373582" cy="4622748"/>
            <a:chOff x="4460240" y="1198880"/>
            <a:chExt cx="3942080" cy="4602480"/>
          </a:xfrm>
          <a:effectLst/>
        </p:grpSpPr>
        <p:cxnSp>
          <p:nvCxnSpPr>
            <p:cNvPr id="31" name="Straight Connector 30"/>
            <p:cNvCxnSpPr/>
            <p:nvPr userDrawn="1"/>
          </p:nvCxnSpPr>
          <p:spPr>
            <a:xfrm>
              <a:off x="4460240" y="1198880"/>
              <a:ext cx="3942079" cy="311595"/>
            </a:xfrm>
            <a:prstGeom prst="line">
              <a:avLst/>
            </a:prstGeom>
            <a:ln w="19050">
              <a:solidFill>
                <a:schemeClr val="bg2">
                  <a:lumMod val="8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8402320" y="1510475"/>
              <a:ext cx="0" cy="4290885"/>
            </a:xfrm>
            <a:prstGeom prst="line">
              <a:avLst/>
            </a:prstGeom>
            <a:ln w="19050">
              <a:solidFill>
                <a:schemeClr val="bg2">
                  <a:lumMod val="8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39" t="28658" r="7288" b="28898"/>
          <a:stretch/>
        </p:blipFill>
        <p:spPr>
          <a:xfrm>
            <a:off x="748717" y="6585272"/>
            <a:ext cx="1080598" cy="19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73628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9998862"/>
              </p:ext>
            </p:extLst>
          </p:nvPr>
        </p:nvGraphicFramePr>
        <p:xfrm>
          <a:off x="1588" y="1589"/>
          <a:ext cx="1583" cy="15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73" imgH="473" progId="TCLayout.ActiveDocument.1">
                  <p:embed/>
                </p:oleObj>
              </mc:Choice>
              <mc:Fallback>
                <p:oleObj name="Слайд think-cell" r:id="rId3" imgW="473" imgH="473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3" cy="15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608330" y="274131"/>
            <a:ext cx="10949940" cy="1140883"/>
          </a:xfrm>
          <a:prstGeom prst="rect">
            <a:avLst/>
          </a:prstGeom>
        </p:spPr>
        <p:txBody>
          <a:bodyPr/>
          <a:lstStyle>
            <a:lvl1pPr algn="l">
              <a:defRPr lang="ru-RU" sz="2795" baseline="0" dirty="0">
                <a:latin typeface="+mn-lt"/>
              </a:defRPr>
            </a:lvl1pPr>
          </a:lstStyle>
          <a:p>
            <a:pPr lvl="0" algn="l"/>
            <a:endParaRPr lang="ru-RU" dirty="0"/>
          </a:p>
        </p:txBody>
      </p:sp>
      <p:sp>
        <p:nvSpPr>
          <p:cNvPr id="7" name="Нижний колонтитул 2">
            <a:extLst>
              <a:ext uri="{FF2B5EF4-FFF2-40B4-BE49-F238E27FC236}">
                <a16:creationId xmlns:a16="http://schemas.microsoft.com/office/drawing/2014/main" id="{FCB677EF-396C-4B97-9E93-0399B4C107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211443" y="6594133"/>
            <a:ext cx="3852757" cy="196024"/>
          </a:xfrm>
          <a:prstGeom prst="rect">
            <a:avLst/>
          </a:prstGeom>
        </p:spPr>
        <p:txBody>
          <a:bodyPr anchor="ctr"/>
          <a:lstStyle>
            <a:lvl1pPr algn="l">
              <a:defRPr sz="1098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8" name="Номер слайда 3">
            <a:extLst>
              <a:ext uri="{FF2B5EF4-FFF2-40B4-BE49-F238E27FC236}">
                <a16:creationId xmlns:a16="http://schemas.microsoft.com/office/drawing/2014/main" id="{F8D1901A-1345-402A-80D4-B0ECF861C5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91714" y="6585272"/>
            <a:ext cx="1439729" cy="196024"/>
          </a:xfrm>
          <a:prstGeom prst="rect">
            <a:avLst/>
          </a:prstGeom>
        </p:spPr>
        <p:txBody>
          <a:bodyPr anchor="ctr"/>
          <a:lstStyle>
            <a:lvl1pPr algn="r">
              <a:defRPr lang="ru-RU" altLang="ru-RU" sz="1198" smtClean="0"/>
            </a:lvl1pPr>
          </a:lstStyle>
          <a:p>
            <a:fld id="{FC53B5C6-9314-4524-AC64-03D02BB042E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8330" y="0"/>
            <a:ext cx="10949940" cy="2662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98" b="1" baseline="0"/>
            </a:lvl1pPr>
          </a:lstStyle>
          <a:p>
            <a:pPr lvl="0"/>
            <a:r>
              <a:rPr lang="ru-RU" dirty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40281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азвание 1"/>
          <p:cNvSpPr>
            <a:spLocks noGrp="1"/>
          </p:cNvSpPr>
          <p:nvPr>
            <p:ph type="title"/>
          </p:nvPr>
        </p:nvSpPr>
        <p:spPr>
          <a:xfrm>
            <a:off x="608330" y="274131"/>
            <a:ext cx="10949940" cy="1140883"/>
          </a:xfrm>
          <a:prstGeom prst="rect">
            <a:avLst/>
          </a:prstGeom>
        </p:spPr>
        <p:txBody>
          <a:bodyPr/>
          <a:lstStyle>
            <a:lvl1pPr>
              <a:defRPr lang="ru-RU" sz="2795" baseline="0" dirty="0">
                <a:latin typeface="+mn-lt"/>
              </a:defRPr>
            </a:lvl1pPr>
          </a:lstStyle>
          <a:p>
            <a:pPr lvl="0" algn="l"/>
            <a:endParaRPr lang="ru-RU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953911" y="2836948"/>
            <a:ext cx="8604359" cy="13817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97"/>
            </a:lvl1pPr>
          </a:lstStyle>
          <a:p>
            <a:pPr lvl="0"/>
            <a:r>
              <a:rPr lang="ru-RU" dirty="0"/>
              <a:t>Опыт работы</a:t>
            </a:r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08331" y="2846424"/>
            <a:ext cx="1504250" cy="23667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098"/>
            </a:lvl1pPr>
          </a:lstStyle>
          <a:p>
            <a:pPr lvl="0"/>
            <a:r>
              <a:rPr lang="ru-RU" dirty="0"/>
              <a:t>Позиция</a:t>
            </a:r>
          </a:p>
          <a:p>
            <a:pPr lvl="0"/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8330" y="0"/>
            <a:ext cx="10949940" cy="2662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98" b="1" baseline="0"/>
            </a:lvl1pPr>
          </a:lstStyle>
          <a:p>
            <a:pPr lvl="0"/>
            <a:r>
              <a:rPr lang="ru-RU" dirty="0"/>
              <a:t>Название раздела</a:t>
            </a:r>
            <a:endParaRPr lang="en-US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953911" y="4405386"/>
            <a:ext cx="8604359" cy="13817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97"/>
            </a:lvl1pPr>
          </a:lstStyle>
          <a:p>
            <a:pPr lvl="0"/>
            <a:r>
              <a:rPr lang="ru-RU" dirty="0"/>
              <a:t>Образование</a:t>
            </a:r>
            <a:endParaRPr lang="en-US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953911" y="1703325"/>
            <a:ext cx="8604359" cy="8841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97"/>
            </a:lvl1pPr>
          </a:lstStyle>
          <a:p>
            <a:pPr lvl="0"/>
            <a:r>
              <a:rPr lang="ru-RU" dirty="0"/>
              <a:t>Общая информация</a:t>
            </a:r>
            <a:endParaRPr lang="en-US" dirty="0"/>
          </a:p>
        </p:txBody>
      </p:sp>
      <p:sp>
        <p:nvSpPr>
          <p:cNvPr id="15" name="Нижний колонтитул 2">
            <a:extLst>
              <a:ext uri="{FF2B5EF4-FFF2-40B4-BE49-F238E27FC236}">
                <a16:creationId xmlns:a16="http://schemas.microsoft.com/office/drawing/2014/main" id="{FCB677EF-396C-4B97-9E93-0399B4C107A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211443" y="6594133"/>
            <a:ext cx="3852757" cy="196024"/>
          </a:xfrm>
          <a:prstGeom prst="rect">
            <a:avLst/>
          </a:prstGeom>
        </p:spPr>
        <p:txBody>
          <a:bodyPr anchor="ctr"/>
          <a:lstStyle>
            <a:lvl1pPr algn="l">
              <a:defRPr sz="1098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6" name="Номер слайда 3">
            <a:extLst>
              <a:ext uri="{FF2B5EF4-FFF2-40B4-BE49-F238E27FC236}">
                <a16:creationId xmlns:a16="http://schemas.microsoft.com/office/drawing/2014/main" id="{F8D1901A-1345-402A-80D4-B0ECF861C5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91714" y="6585272"/>
            <a:ext cx="1439729" cy="196024"/>
          </a:xfrm>
          <a:prstGeom prst="rect">
            <a:avLst/>
          </a:prstGeom>
        </p:spPr>
        <p:txBody>
          <a:bodyPr anchor="ctr"/>
          <a:lstStyle>
            <a:lvl1pPr>
              <a:defRPr lang="ru-RU" altLang="ru-RU" sz="1397" smtClean="0"/>
            </a:lvl1pPr>
          </a:lstStyle>
          <a:p>
            <a:pPr algn="r"/>
            <a:fld id="{FC53B5C6-9314-4524-AC64-03D02BB042E3}" type="slidenum">
              <a:rPr lang="en-US" smtClean="0"/>
              <a:pPr algn="r"/>
              <a:t>‹#›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39" t="28658" r="7288" b="28898"/>
          <a:stretch/>
        </p:blipFill>
        <p:spPr>
          <a:xfrm>
            <a:off x="748717" y="6585272"/>
            <a:ext cx="1080598" cy="19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847094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7165317"/>
              </p:ext>
            </p:extLst>
          </p:nvPr>
        </p:nvGraphicFramePr>
        <p:xfrm>
          <a:off x="1589" y="1591"/>
          <a:ext cx="1583" cy="15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73" imgH="473" progId="TCLayout.ActiveDocument.1">
                  <p:embed/>
                </p:oleObj>
              </mc:Choice>
              <mc:Fallback>
                <p:oleObj name="Слайд think-cell" r:id="rId3" imgW="473" imgH="473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3" cy="15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608332" y="272550"/>
            <a:ext cx="4002728" cy="1159899"/>
          </a:xfrm>
          <a:prstGeom prst="rect">
            <a:avLst/>
          </a:prstGeom>
        </p:spPr>
        <p:txBody>
          <a:bodyPr anchor="b"/>
          <a:lstStyle>
            <a:lvl1pPr algn="l">
              <a:defRPr sz="1865" b="1">
                <a:latin typeface="+mn-lt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56804" y="272553"/>
            <a:ext cx="6801467" cy="5842274"/>
          </a:xfrm>
          <a:prstGeom prst="rect">
            <a:avLst/>
          </a:prstGeom>
        </p:spPr>
        <p:txBody>
          <a:bodyPr/>
          <a:lstStyle>
            <a:lvl1pPr>
              <a:defRPr sz="3082"/>
            </a:lvl1pPr>
            <a:lvl2pPr>
              <a:defRPr sz="2676"/>
            </a:lvl2pPr>
            <a:lvl3pPr>
              <a:defRPr sz="2271"/>
            </a:lvl3pPr>
            <a:lvl4pPr>
              <a:defRPr sz="1865"/>
            </a:lvl4pPr>
            <a:lvl5pPr>
              <a:defRPr sz="1865"/>
            </a:lvl5pPr>
            <a:lvl6pPr>
              <a:defRPr sz="1865"/>
            </a:lvl6pPr>
            <a:lvl7pPr>
              <a:defRPr sz="1865"/>
            </a:lvl7pPr>
            <a:lvl8pPr>
              <a:defRPr sz="1865"/>
            </a:lvl8pPr>
            <a:lvl9pPr>
              <a:defRPr sz="186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8332" y="1432446"/>
            <a:ext cx="4002728" cy="46823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98"/>
            </a:lvl1pPr>
            <a:lvl2pPr marL="435024" indent="0">
              <a:buNone/>
              <a:defRPr sz="1136"/>
            </a:lvl2pPr>
            <a:lvl3pPr marL="870048" indent="0">
              <a:buNone/>
              <a:defRPr sz="973"/>
            </a:lvl3pPr>
            <a:lvl4pPr marL="1305071" indent="0">
              <a:buNone/>
              <a:defRPr sz="892"/>
            </a:lvl4pPr>
            <a:lvl5pPr marL="1740094" indent="0">
              <a:buNone/>
              <a:defRPr sz="892"/>
            </a:lvl5pPr>
            <a:lvl6pPr marL="2175117" indent="0">
              <a:buNone/>
              <a:defRPr sz="892"/>
            </a:lvl6pPr>
            <a:lvl7pPr marL="2610141" indent="0">
              <a:buNone/>
              <a:defRPr sz="892"/>
            </a:lvl7pPr>
            <a:lvl8pPr marL="3045164" indent="0">
              <a:buNone/>
              <a:defRPr sz="892"/>
            </a:lvl8pPr>
            <a:lvl9pPr marL="3480188" indent="0">
              <a:buNone/>
              <a:defRPr sz="89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Нижний колонтитул 4">
            <a:extLst>
              <a:ext uri="{FF2B5EF4-FFF2-40B4-BE49-F238E27FC236}">
                <a16:creationId xmlns:a16="http://schemas.microsoft.com/office/drawing/2014/main" id="{1EA73993-BF8D-45D3-812F-353ADB7BE61E}"/>
              </a:ext>
            </a:extLst>
          </p:cNvPr>
          <p:cNvSpPr txBox="1">
            <a:spLocks/>
          </p:cNvSpPr>
          <p:nvPr userDrawn="1"/>
        </p:nvSpPr>
        <p:spPr>
          <a:xfrm>
            <a:off x="748717" y="6166884"/>
            <a:ext cx="10669174" cy="298128"/>
          </a:xfrm>
          <a:prstGeom prst="rect">
            <a:avLst/>
          </a:prstGeom>
        </p:spPr>
        <p:txBody>
          <a:bodyPr vert="horz" lIns="87010" tIns="43504" rIns="87010" bIns="43504" rtlCol="0" anchor="ctr"/>
          <a:lstStyle>
            <a:defPPr>
              <a:defRPr lang="ru-RU"/>
            </a:defPPr>
            <a:lvl1pPr algn="ctr" defTabSz="536433" rtl="0" eaLnBrk="1" fontAlgn="auto" hangingPunct="1">
              <a:spcBef>
                <a:spcPts val="0"/>
              </a:spcBef>
              <a:spcAft>
                <a:spcPts val="0"/>
              </a:spcAft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34988" indent="-77788" algn="l" defTabSz="534988" rtl="0" eaLnBrk="0" fontAlgn="base" hangingPunct="0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071563" indent="-157163" algn="l" defTabSz="534988" rtl="0" eaLnBrk="0" fontAlgn="base" hangingPunct="0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8138" indent="-236538" algn="l" defTabSz="534988" rtl="0" eaLnBrk="0" fontAlgn="base" hangingPunct="0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44713" indent="-315913" algn="l" defTabSz="534988" rtl="0" eaLnBrk="0" fontAlgn="base" hangingPunct="0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l">
              <a:defRPr/>
            </a:pPr>
            <a:r>
              <a:rPr lang="ru-RU" sz="811" baseline="0" dirty="0"/>
              <a:t>Комментарии</a:t>
            </a:r>
            <a:endParaRPr lang="ru-RU" sz="811" dirty="0"/>
          </a:p>
        </p:txBody>
      </p:sp>
      <p:sp>
        <p:nvSpPr>
          <p:cNvPr id="13" name="Нижний колонтитул 2">
            <a:extLst>
              <a:ext uri="{FF2B5EF4-FFF2-40B4-BE49-F238E27FC236}">
                <a16:creationId xmlns:a16="http://schemas.microsoft.com/office/drawing/2014/main" id="{FCB677EF-396C-4B97-9E93-0399B4C107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211443" y="6594133"/>
            <a:ext cx="3852757" cy="196024"/>
          </a:xfrm>
          <a:prstGeom prst="rect">
            <a:avLst/>
          </a:prstGeom>
        </p:spPr>
        <p:txBody>
          <a:bodyPr anchor="ctr"/>
          <a:lstStyle>
            <a:lvl1pPr algn="l">
              <a:defRPr sz="1098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4" name="Номер слайда 3">
            <a:extLst>
              <a:ext uri="{FF2B5EF4-FFF2-40B4-BE49-F238E27FC236}">
                <a16:creationId xmlns:a16="http://schemas.microsoft.com/office/drawing/2014/main" id="{F8D1901A-1345-402A-80D4-B0ECF861C5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91714" y="6585272"/>
            <a:ext cx="1439729" cy="196024"/>
          </a:xfrm>
          <a:prstGeom prst="rect">
            <a:avLst/>
          </a:prstGeom>
        </p:spPr>
        <p:txBody>
          <a:bodyPr anchor="ctr"/>
          <a:lstStyle>
            <a:lvl1pPr>
              <a:defRPr lang="ru-RU" altLang="ru-RU" sz="1397" smtClean="0"/>
            </a:lvl1pPr>
          </a:lstStyle>
          <a:p>
            <a:pPr algn="r"/>
            <a:fld id="{FC53B5C6-9314-4524-AC64-03D02BB042E3}" type="slidenum">
              <a:rPr lang="en-US" smtClean="0"/>
              <a:pPr algn="r"/>
              <a:t>‹#›</a:t>
            </a:fld>
            <a:endParaRPr lang="en-US" dirty="0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8330" y="0"/>
            <a:ext cx="10949940" cy="2662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98" b="1" baseline="0"/>
            </a:lvl1pPr>
          </a:lstStyle>
          <a:p>
            <a:pPr lvl="0"/>
            <a:r>
              <a:rPr lang="ru-RU" dirty="0"/>
              <a:t>Название раздела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39" t="28658" r="7288" b="28898"/>
          <a:stretch/>
        </p:blipFill>
        <p:spPr>
          <a:xfrm>
            <a:off x="748717" y="6585272"/>
            <a:ext cx="1080598" cy="19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395569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8215440"/>
              </p:ext>
            </p:extLst>
          </p:nvPr>
        </p:nvGraphicFramePr>
        <p:xfrm>
          <a:off x="1589" y="1591"/>
          <a:ext cx="1583" cy="15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73" imgH="473" progId="TCLayout.ActiveDocument.1">
                  <p:embed/>
                </p:oleObj>
              </mc:Choice>
              <mc:Fallback>
                <p:oleObj name="Слайд think-cell" r:id="rId3" imgW="473" imgH="473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3" cy="15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2384738" y="4791717"/>
            <a:ext cx="7299960" cy="565689"/>
          </a:xfrm>
          <a:prstGeom prst="rect">
            <a:avLst/>
          </a:prstGeom>
        </p:spPr>
        <p:txBody>
          <a:bodyPr anchor="b"/>
          <a:lstStyle>
            <a:lvl1pPr algn="l">
              <a:defRPr sz="1865" b="1">
                <a:latin typeface="+mn-lt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4738" y="611640"/>
            <a:ext cx="7299960" cy="41071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82"/>
            </a:lvl1pPr>
            <a:lvl2pPr marL="435024" indent="0">
              <a:buNone/>
              <a:defRPr sz="2676"/>
            </a:lvl2pPr>
            <a:lvl3pPr marL="870048" indent="0">
              <a:buNone/>
              <a:defRPr sz="2271"/>
            </a:lvl3pPr>
            <a:lvl4pPr marL="1305071" indent="0">
              <a:buNone/>
              <a:defRPr sz="1865"/>
            </a:lvl4pPr>
            <a:lvl5pPr marL="1740094" indent="0">
              <a:buNone/>
              <a:defRPr sz="1865"/>
            </a:lvl5pPr>
            <a:lvl6pPr marL="2175117" indent="0">
              <a:buNone/>
              <a:defRPr sz="1865"/>
            </a:lvl6pPr>
            <a:lvl7pPr marL="2610141" indent="0">
              <a:buNone/>
              <a:defRPr sz="1865"/>
            </a:lvl7pPr>
            <a:lvl8pPr marL="3045164" indent="0">
              <a:buNone/>
              <a:defRPr sz="1865"/>
            </a:lvl8pPr>
            <a:lvl9pPr marL="3480188" indent="0">
              <a:buNone/>
              <a:defRPr sz="1865"/>
            </a:lvl9pPr>
          </a:lstStyle>
          <a:p>
            <a:pPr lvl="0"/>
            <a:r>
              <a:rPr lang="ru-RU" noProof="0" dirty="0"/>
              <a:t>Чтобы добавить рисунок, перетащите его на заполнитель или щелкните значок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4738" y="5357405"/>
            <a:ext cx="7299960" cy="8033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98"/>
            </a:lvl1pPr>
            <a:lvl2pPr marL="435024" indent="0">
              <a:buNone/>
              <a:defRPr sz="1136"/>
            </a:lvl2pPr>
            <a:lvl3pPr marL="870048" indent="0">
              <a:buNone/>
              <a:defRPr sz="973"/>
            </a:lvl3pPr>
            <a:lvl4pPr marL="1305071" indent="0">
              <a:buNone/>
              <a:defRPr sz="892"/>
            </a:lvl4pPr>
            <a:lvl5pPr marL="1740094" indent="0">
              <a:buNone/>
              <a:defRPr sz="892"/>
            </a:lvl5pPr>
            <a:lvl6pPr marL="2175117" indent="0">
              <a:buNone/>
              <a:defRPr sz="892"/>
            </a:lvl6pPr>
            <a:lvl7pPr marL="2610141" indent="0">
              <a:buNone/>
              <a:defRPr sz="892"/>
            </a:lvl7pPr>
            <a:lvl8pPr marL="3045164" indent="0">
              <a:buNone/>
              <a:defRPr sz="892"/>
            </a:lvl8pPr>
            <a:lvl9pPr marL="3480188" indent="0">
              <a:buNone/>
              <a:defRPr sz="89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Нижний колонтитул 4">
            <a:extLst>
              <a:ext uri="{FF2B5EF4-FFF2-40B4-BE49-F238E27FC236}">
                <a16:creationId xmlns:a16="http://schemas.microsoft.com/office/drawing/2014/main" id="{1EA73993-BF8D-45D3-812F-353ADB7BE61E}"/>
              </a:ext>
            </a:extLst>
          </p:cNvPr>
          <p:cNvSpPr txBox="1">
            <a:spLocks/>
          </p:cNvSpPr>
          <p:nvPr userDrawn="1"/>
        </p:nvSpPr>
        <p:spPr>
          <a:xfrm>
            <a:off x="748717" y="6166884"/>
            <a:ext cx="10669174" cy="298128"/>
          </a:xfrm>
          <a:prstGeom prst="rect">
            <a:avLst/>
          </a:prstGeom>
        </p:spPr>
        <p:txBody>
          <a:bodyPr vert="horz" lIns="87010" tIns="43504" rIns="87010" bIns="43504" rtlCol="0" anchor="ctr"/>
          <a:lstStyle>
            <a:defPPr>
              <a:defRPr lang="ru-RU"/>
            </a:defPPr>
            <a:lvl1pPr algn="ctr" defTabSz="536433" rtl="0" eaLnBrk="1" fontAlgn="auto" hangingPunct="1">
              <a:spcBef>
                <a:spcPts val="0"/>
              </a:spcBef>
              <a:spcAft>
                <a:spcPts val="0"/>
              </a:spcAft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34988" indent="-77788" algn="l" defTabSz="534988" rtl="0" eaLnBrk="0" fontAlgn="base" hangingPunct="0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071563" indent="-157163" algn="l" defTabSz="534988" rtl="0" eaLnBrk="0" fontAlgn="base" hangingPunct="0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8138" indent="-236538" algn="l" defTabSz="534988" rtl="0" eaLnBrk="0" fontAlgn="base" hangingPunct="0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44713" indent="-315913" algn="l" defTabSz="534988" rtl="0" eaLnBrk="0" fontAlgn="base" hangingPunct="0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l">
              <a:defRPr/>
            </a:pPr>
            <a:r>
              <a:rPr lang="ru-RU" sz="811" baseline="0" dirty="0"/>
              <a:t>Комментарии</a:t>
            </a:r>
            <a:endParaRPr lang="ru-RU" sz="811" dirty="0"/>
          </a:p>
        </p:txBody>
      </p:sp>
      <p:sp>
        <p:nvSpPr>
          <p:cNvPr id="13" name="Нижний колонтитул 2">
            <a:extLst>
              <a:ext uri="{FF2B5EF4-FFF2-40B4-BE49-F238E27FC236}">
                <a16:creationId xmlns:a16="http://schemas.microsoft.com/office/drawing/2014/main" id="{FCB677EF-396C-4B97-9E93-0399B4C107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211443" y="6594133"/>
            <a:ext cx="3852757" cy="196024"/>
          </a:xfrm>
          <a:prstGeom prst="rect">
            <a:avLst/>
          </a:prstGeom>
        </p:spPr>
        <p:txBody>
          <a:bodyPr anchor="ctr"/>
          <a:lstStyle>
            <a:lvl1pPr algn="l">
              <a:defRPr sz="1098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4" name="Номер слайда 3">
            <a:extLst>
              <a:ext uri="{FF2B5EF4-FFF2-40B4-BE49-F238E27FC236}">
                <a16:creationId xmlns:a16="http://schemas.microsoft.com/office/drawing/2014/main" id="{F8D1901A-1345-402A-80D4-B0ECF861C5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91714" y="6585272"/>
            <a:ext cx="1439729" cy="196024"/>
          </a:xfrm>
          <a:prstGeom prst="rect">
            <a:avLst/>
          </a:prstGeom>
        </p:spPr>
        <p:txBody>
          <a:bodyPr anchor="ctr"/>
          <a:lstStyle>
            <a:lvl1pPr>
              <a:defRPr lang="ru-RU" altLang="ru-RU" sz="1397" smtClean="0"/>
            </a:lvl1pPr>
          </a:lstStyle>
          <a:p>
            <a:pPr algn="r"/>
            <a:fld id="{FC53B5C6-9314-4524-AC64-03D02BB042E3}" type="slidenum">
              <a:rPr lang="en-US" smtClean="0"/>
              <a:pPr algn="r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8330" y="0"/>
            <a:ext cx="10949940" cy="2662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98" b="1" baseline="0"/>
            </a:lvl1pPr>
          </a:lstStyle>
          <a:p>
            <a:pPr lvl="0"/>
            <a:r>
              <a:rPr lang="ru-RU" dirty="0"/>
              <a:t>Название раздела</a:t>
            </a:r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39" t="28658" r="7288" b="28898"/>
          <a:stretch/>
        </p:blipFill>
        <p:spPr>
          <a:xfrm>
            <a:off x="748717" y="6585272"/>
            <a:ext cx="1080598" cy="19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75840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>
          <a:xfrm>
            <a:off x="608647" y="6366129"/>
            <a:ext cx="2799778" cy="276999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576DDF-8F1A-4E01-8514-E08886B43E3F}" type="datetime1">
              <a:rPr lang="ru-RU" smtClean="0"/>
              <a:t>23.12.2020</a:t>
            </a:fld>
            <a:endParaRPr lang="ru-RU" dirty="0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38803" y="6366129"/>
            <a:ext cx="3895343" cy="276999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592661" y="6344579"/>
            <a:ext cx="2737485" cy="276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CAC624-16D2-4128-B166-382811E5777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1825696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2"/>
          <a:ext cx="1583" cy="15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73" imgH="473" progId="TCLayout.ActiveDocument.1">
                  <p:embed/>
                </p:oleObj>
              </mc:Choice>
              <mc:Fallback>
                <p:oleObj name="Слайд think-cell" r:id="rId3" imgW="473" imgH="473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3" cy="15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608330" y="274131"/>
            <a:ext cx="10949940" cy="1140883"/>
          </a:xfrm>
          <a:prstGeom prst="rect">
            <a:avLst/>
          </a:prstGeom>
        </p:spPr>
        <p:txBody>
          <a:bodyPr/>
          <a:lstStyle>
            <a:lvl1pPr>
              <a:defRPr lang="ru-RU" sz="2096" baseline="0" dirty="0">
                <a:latin typeface="+mn-lt"/>
              </a:defRPr>
            </a:lvl1pPr>
          </a:lstStyle>
          <a:p>
            <a:pPr lvl="0" algn="l"/>
            <a:endParaRPr lang="ru-RU" dirty="0"/>
          </a:p>
        </p:txBody>
      </p:sp>
      <p:sp>
        <p:nvSpPr>
          <p:cNvPr id="7" name="Нижний колонтитул 2">
            <a:extLst>
              <a:ext uri="{FF2B5EF4-FFF2-40B4-BE49-F238E27FC236}">
                <a16:creationId xmlns:a16="http://schemas.microsoft.com/office/drawing/2014/main" id="{FCB677EF-396C-4B97-9E93-0399B4C107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211443" y="6594133"/>
            <a:ext cx="3852757" cy="196024"/>
          </a:xfrm>
          <a:prstGeom prst="rect">
            <a:avLst/>
          </a:prstGeom>
        </p:spPr>
        <p:txBody>
          <a:bodyPr anchor="ctr"/>
          <a:lstStyle>
            <a:lvl1pPr algn="l">
              <a:defRPr sz="823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8" name="Номер слайда 3">
            <a:extLst>
              <a:ext uri="{FF2B5EF4-FFF2-40B4-BE49-F238E27FC236}">
                <a16:creationId xmlns:a16="http://schemas.microsoft.com/office/drawing/2014/main" id="{F8D1901A-1345-402A-80D4-B0ECF861C5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91716" y="6585272"/>
            <a:ext cx="1439729" cy="196024"/>
          </a:xfrm>
          <a:prstGeom prst="rect">
            <a:avLst/>
          </a:prstGeom>
        </p:spPr>
        <p:txBody>
          <a:bodyPr anchor="ctr"/>
          <a:lstStyle>
            <a:lvl1pPr>
              <a:defRPr lang="ru-RU" altLang="ru-RU" sz="1048" smtClean="0"/>
            </a:lvl1pPr>
          </a:lstStyle>
          <a:p>
            <a:pPr algn="r"/>
            <a:fld id="{FC53B5C6-9314-4524-AC64-03D02BB042E3}" type="slidenum">
              <a:rPr lang="en-US" smtClean="0"/>
              <a:pPr algn="r"/>
              <a:t>‹#›</a:t>
            </a:fld>
            <a:endParaRPr lang="en-US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8330" y="0"/>
            <a:ext cx="10949940" cy="2662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23" b="1" baseline="0"/>
            </a:lvl1pPr>
          </a:lstStyle>
          <a:p>
            <a:pPr lvl="0"/>
            <a:r>
              <a:rPr lang="ru-RU" dirty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279535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4485FB0D-363E-4716-9668-8A1821E9AF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6653623"/>
              </p:ext>
            </p:extLst>
          </p:nvPr>
        </p:nvGraphicFramePr>
        <p:xfrm>
          <a:off x="1951" y="1585"/>
          <a:ext cx="1950" cy="1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83" imgH="384" progId="TCLayout.ActiveDocument.1">
                  <p:embed/>
                </p:oleObj>
              </mc:Choice>
              <mc:Fallback>
                <p:oleObj name="Слайд think-cell" r:id="rId4" imgW="383" imgH="384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4485FB0D-363E-4716-9668-8A1821E9AF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1" y="1585"/>
                        <a:ext cx="1950" cy="1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5120BAA6-ACF7-4B5F-B260-BCB93F4726E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4978" cy="1584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797" b="1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1B0082A-DDF8-5C4A-ACE3-C6E1B4637A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98AF8D-A1F3-444B-BD02-D3838E0341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4864" y="6344582"/>
            <a:ext cx="10223711" cy="312157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60D1B6-7D4D-A047-9CA5-B155A4F24A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98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fld id="{8B222168-806D-154D-87CF-3FE663D11BC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A46D7660-031D-E74D-9805-6BC90F9A206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4864" y="188563"/>
            <a:ext cx="10059624" cy="35969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136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</a:defRPr>
            </a:lvl1pPr>
            <a:lvl2pPr>
              <a:defRPr sz="1136">
                <a:latin typeface="+mn-lt"/>
              </a:defRPr>
            </a:lvl2pPr>
            <a:lvl3pPr>
              <a:defRPr sz="1136">
                <a:latin typeface="+mn-lt"/>
              </a:defRPr>
            </a:lvl3pPr>
            <a:lvl4pPr>
              <a:defRPr sz="1136">
                <a:latin typeface="+mn-lt"/>
              </a:defRPr>
            </a:lvl4pPr>
            <a:lvl5pPr>
              <a:defRPr sz="1136">
                <a:latin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5121A4C-3055-0D40-9A9D-F479139CEA9E}"/>
              </a:ext>
            </a:extLst>
          </p:cNvPr>
          <p:cNvCxnSpPr/>
          <p:nvPr userDrawn="1"/>
        </p:nvCxnSpPr>
        <p:spPr>
          <a:xfrm>
            <a:off x="514864" y="6297042"/>
            <a:ext cx="11136875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609418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8989448"/>
              </p:ext>
            </p:extLst>
          </p:nvPr>
        </p:nvGraphicFramePr>
        <p:xfrm>
          <a:off x="1951" y="1586"/>
          <a:ext cx="1949" cy="15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95" imgH="394" progId="TCLayout.ActiveDocument.1">
                  <p:embed/>
                </p:oleObj>
              </mc:Choice>
              <mc:Fallback>
                <p:oleObj name="Слайд think-cell" r:id="rId3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1" y="1586"/>
                        <a:ext cx="1949" cy="15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14006" y="203485"/>
            <a:ext cx="10138588" cy="168887"/>
          </a:xfrm>
        </p:spPr>
        <p:txBody>
          <a:bodyPr anchor="b"/>
          <a:lstStyle>
            <a:lvl1pPr>
              <a:spcAft>
                <a:spcPct val="0"/>
              </a:spcAft>
              <a:defRPr sz="1198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399354089"/>
      </p:ext>
    </p:extLst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0531" y="203485"/>
            <a:ext cx="10552063" cy="168887"/>
          </a:xfrm>
        </p:spPr>
        <p:txBody>
          <a:bodyPr anchor="b"/>
          <a:lstStyle>
            <a:lvl1pPr>
              <a:spcAft>
                <a:spcPct val="0"/>
              </a:spcAft>
              <a:defRPr sz="973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3515629320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2971" y="2122043"/>
            <a:ext cx="10347007" cy="143751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5942" y="3833368"/>
            <a:ext cx="8521064" cy="17113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3/2020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1065527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950" b="1" i="0">
                <a:solidFill>
                  <a:srgbClr val="151616"/>
                </a:solidFill>
                <a:latin typeface="Myriad Pro"/>
                <a:cs typeface="Myriad Pro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1000" b="1" i="0">
                <a:solidFill>
                  <a:srgbClr val="9C2B8B"/>
                </a:solidFill>
                <a:latin typeface="Myriad Arabic"/>
                <a:cs typeface="Myriad Arabic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3/2020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7811681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950" b="1" i="0">
                <a:solidFill>
                  <a:srgbClr val="151616"/>
                </a:solidFill>
                <a:latin typeface="Myriad Pro"/>
                <a:cs typeface="Myriad Pro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573488" y="2168366"/>
            <a:ext cx="3221354" cy="37236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rgbClr val="151616"/>
                </a:solidFill>
                <a:latin typeface="Myriad Pro Light"/>
                <a:cs typeface="Myriad Pro Light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69069" y="1574419"/>
            <a:ext cx="5295233" cy="45178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3/2020</a:t>
            </a:fld>
            <a:endParaRPr lang="en-US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1303911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950" b="1" i="0">
                <a:solidFill>
                  <a:srgbClr val="151616"/>
                </a:solidFill>
                <a:latin typeface="Myriad Pro"/>
                <a:cs typeface="Myriad Pro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3/2020</a:t>
            </a:fld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2389252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3/2020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9443598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0825" y="2582121"/>
            <a:ext cx="9124950" cy="921342"/>
          </a:xfrm>
        </p:spPr>
        <p:txBody>
          <a:bodyPr anchor="b"/>
          <a:lstStyle>
            <a:lvl1pPr algn="ctr">
              <a:defRPr sz="5987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0825" y="3595367"/>
            <a:ext cx="9124950" cy="368562"/>
          </a:xfrm>
        </p:spPr>
        <p:txBody>
          <a:bodyPr/>
          <a:lstStyle>
            <a:lvl1pPr marL="0" indent="0" algn="ctr">
              <a:buNone/>
              <a:defRPr sz="2395"/>
            </a:lvl1pPr>
            <a:lvl2pPr marL="456240" indent="0" algn="ctr">
              <a:buNone/>
              <a:defRPr sz="1996"/>
            </a:lvl2pPr>
            <a:lvl3pPr marL="912480" indent="0" algn="ctr">
              <a:buNone/>
              <a:defRPr sz="1796"/>
            </a:lvl3pPr>
            <a:lvl4pPr marL="1368720" indent="0" algn="ctr">
              <a:buNone/>
              <a:defRPr sz="1597"/>
            </a:lvl4pPr>
            <a:lvl5pPr marL="1824960" indent="0" algn="ctr">
              <a:buNone/>
              <a:defRPr sz="1597"/>
            </a:lvl5pPr>
            <a:lvl6pPr marL="2281199" indent="0" algn="ctr">
              <a:buNone/>
              <a:defRPr sz="1597"/>
            </a:lvl6pPr>
            <a:lvl7pPr marL="2737439" indent="0" algn="ctr">
              <a:buNone/>
              <a:defRPr sz="1597"/>
            </a:lvl7pPr>
            <a:lvl8pPr marL="3193679" indent="0" algn="ctr">
              <a:buNone/>
              <a:defRPr sz="1597"/>
            </a:lvl8pPr>
            <a:lvl9pPr marL="3649919" indent="0" algn="ctr">
              <a:buNone/>
              <a:defRPr sz="1597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8647" y="6366129"/>
            <a:ext cx="2799778" cy="276999"/>
          </a:xfrm>
        </p:spPr>
        <p:txBody>
          <a:bodyPr/>
          <a:lstStyle/>
          <a:p>
            <a:fld id="{6C22BC38-EFE2-4B4B-AEF6-4C7EF6D8B5A9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12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38803" y="6366129"/>
            <a:ext cx="3895343" cy="276999"/>
          </a:xfrm>
        </p:spPr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64524" y="6366129"/>
            <a:ext cx="2799778" cy="276999"/>
          </a:xfrm>
        </p:spPr>
        <p:txBody>
          <a:bodyPr/>
          <a:lstStyle/>
          <a:p>
            <a:fld id="{E7B4E4A1-0E98-4948-AC9D-6172B1EA621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13301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D6ACA1E-F932-47A2-BF37-F5624F73B52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0825" y="1120284"/>
            <a:ext cx="9124950" cy="2383179"/>
          </a:xfrm>
        </p:spPr>
        <p:txBody>
          <a:bodyPr anchor="b"/>
          <a:lstStyle>
            <a:lvl1pPr algn="ctr">
              <a:defRPr sz="5987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915DF755-D7E9-4E5E-8585-E20D03FF258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0825" y="3595367"/>
            <a:ext cx="9124950" cy="1652696"/>
          </a:xfrm>
        </p:spPr>
        <p:txBody>
          <a:bodyPr/>
          <a:lstStyle>
            <a:lvl1pPr marL="0" indent="0" algn="ctr">
              <a:buNone/>
              <a:defRPr sz="2395"/>
            </a:lvl1pPr>
            <a:lvl2pPr marL="456240" indent="0" algn="ctr">
              <a:buNone/>
              <a:defRPr sz="1996"/>
            </a:lvl2pPr>
            <a:lvl3pPr marL="912480" indent="0" algn="ctr">
              <a:buNone/>
              <a:defRPr sz="1796"/>
            </a:lvl3pPr>
            <a:lvl4pPr marL="1368720" indent="0" algn="ctr">
              <a:buNone/>
              <a:defRPr sz="1597"/>
            </a:lvl4pPr>
            <a:lvl5pPr marL="1824960" indent="0" algn="ctr">
              <a:buNone/>
              <a:defRPr sz="1597"/>
            </a:lvl5pPr>
            <a:lvl6pPr marL="2281199" indent="0" algn="ctr">
              <a:buNone/>
              <a:defRPr sz="1597"/>
            </a:lvl6pPr>
            <a:lvl7pPr marL="2737439" indent="0" algn="ctr">
              <a:buNone/>
              <a:defRPr sz="1597"/>
            </a:lvl7pPr>
            <a:lvl8pPr marL="3193679" indent="0" algn="ctr">
              <a:buNone/>
              <a:defRPr sz="1597"/>
            </a:lvl8pPr>
            <a:lvl9pPr marL="3649919" indent="0" algn="ctr">
              <a:buNone/>
              <a:defRPr sz="1597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A584054-1CF4-4F31-9CBB-0E42A3E518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461561-0AF8-42F1-82CE-4F7FCF8BF8D5}" type="datetime1">
              <a:rPr lang="ru-RU" smtClean="0"/>
              <a:t>23.12.2020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7E9B78D-3B11-4137-BE33-435660FFA0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A2DCD74-16BC-4506-B3C5-93EF1C681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54A1E0-1654-4A7F-AA48-6C9BE68E373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130838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CEF5A9D-1646-4480-8827-60FDD02EB3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1A4B48C3-70C7-4D3E-9C55-01489DA71EA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52B19FF-5B87-42DF-9F3C-228E4C643C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E4DFE4-A5F4-4AE1-82F8-1974774887F2}" type="datetime1">
              <a:rPr lang="ru-RU" smtClean="0"/>
              <a:t>23.12.2020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222172C-52E8-4583-A28D-E683569F56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75DA83D-E5A3-4B05-BB26-C35CB9F93C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54A1E0-1654-4A7F-AA48-6C9BE68E373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356153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ED9A198-A4AB-4709-9810-4ED324EFCA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0117" y="1706572"/>
            <a:ext cx="10493693" cy="2847454"/>
          </a:xfrm>
        </p:spPr>
        <p:txBody>
          <a:bodyPr anchor="b"/>
          <a:lstStyle>
            <a:lvl1pPr>
              <a:defRPr sz="5987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318C13B2-CBB6-44CF-B6BE-2A3D5E4747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0117" y="4580964"/>
            <a:ext cx="10493693" cy="1497409"/>
          </a:xfrm>
        </p:spPr>
        <p:txBody>
          <a:bodyPr/>
          <a:lstStyle>
            <a:lvl1pPr marL="0" indent="0">
              <a:buNone/>
              <a:defRPr sz="2395">
                <a:solidFill>
                  <a:schemeClr val="tx1">
                    <a:tint val="75000"/>
                  </a:schemeClr>
                </a:solidFill>
              </a:defRPr>
            </a:lvl1pPr>
            <a:lvl2pPr marL="456240" indent="0">
              <a:buNone/>
              <a:defRPr sz="1996">
                <a:solidFill>
                  <a:schemeClr val="tx1">
                    <a:tint val="75000"/>
                  </a:schemeClr>
                </a:solidFill>
              </a:defRPr>
            </a:lvl2pPr>
            <a:lvl3pPr marL="912480" indent="0">
              <a:buNone/>
              <a:defRPr sz="1796">
                <a:solidFill>
                  <a:schemeClr val="tx1">
                    <a:tint val="75000"/>
                  </a:schemeClr>
                </a:solidFill>
              </a:defRPr>
            </a:lvl3pPr>
            <a:lvl4pPr marL="1368720" indent="0">
              <a:buNone/>
              <a:defRPr sz="1597">
                <a:solidFill>
                  <a:schemeClr val="tx1">
                    <a:tint val="75000"/>
                  </a:schemeClr>
                </a:solidFill>
              </a:defRPr>
            </a:lvl4pPr>
            <a:lvl5pPr marL="1824960" indent="0">
              <a:buNone/>
              <a:defRPr sz="1597">
                <a:solidFill>
                  <a:schemeClr val="tx1">
                    <a:tint val="75000"/>
                  </a:schemeClr>
                </a:solidFill>
              </a:defRPr>
            </a:lvl5pPr>
            <a:lvl6pPr marL="2281199" indent="0">
              <a:buNone/>
              <a:defRPr sz="1597">
                <a:solidFill>
                  <a:schemeClr val="tx1">
                    <a:tint val="75000"/>
                  </a:schemeClr>
                </a:solidFill>
              </a:defRPr>
            </a:lvl6pPr>
            <a:lvl7pPr marL="2737439" indent="0">
              <a:buNone/>
              <a:defRPr sz="1597">
                <a:solidFill>
                  <a:schemeClr val="tx1">
                    <a:tint val="75000"/>
                  </a:schemeClr>
                </a:solidFill>
              </a:defRPr>
            </a:lvl7pPr>
            <a:lvl8pPr marL="3193679" indent="0">
              <a:buNone/>
              <a:defRPr sz="1597">
                <a:solidFill>
                  <a:schemeClr val="tx1">
                    <a:tint val="75000"/>
                  </a:schemeClr>
                </a:solidFill>
              </a:defRPr>
            </a:lvl8pPr>
            <a:lvl9pPr marL="3649919" indent="0">
              <a:buNone/>
              <a:defRPr sz="159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FD08714-2BBF-46C8-B116-DF415B09C4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075D2D-4372-4373-829A-8C761F6D5276}" type="datetime1">
              <a:rPr lang="ru-RU" smtClean="0"/>
              <a:t>23.12.2020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608AEF3-8E1A-4653-B2E9-FCF34B137E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EAE094D-ADE8-4AFD-86A2-F60EA04E6F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54A1E0-1654-4A7F-AA48-6C9BE68E373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887252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2" Type="http://schemas.openxmlformats.org/officeDocument/2006/relationships/slideLayout" Target="../slideLayouts/slideLayout41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tags" Target="../tags/tag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2" Type="http://schemas.openxmlformats.org/officeDocument/2006/relationships/slideLayout" Target="../slideLayouts/slideLayout5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5" Type="http://schemas.openxmlformats.org/officeDocument/2006/relationships/slideLayout" Target="../slideLayouts/slideLayout56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61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tags" Target="../tags/tag13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6.xml"/><Relationship Id="rId7" Type="http://schemas.openxmlformats.org/officeDocument/2006/relationships/theme" Target="../theme/theme7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816784" y="438603"/>
            <a:ext cx="8539381" cy="4038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950" b="1" i="0">
                <a:solidFill>
                  <a:srgbClr val="151616"/>
                </a:solidFill>
                <a:latin typeface="Myriad Pro"/>
                <a:cs typeface="Myriad Pro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2240801" y="1414389"/>
            <a:ext cx="7691346" cy="14224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1000" b="1" i="0">
                <a:solidFill>
                  <a:srgbClr val="9C2B8B"/>
                </a:solidFill>
                <a:latin typeface="Myriad Arabic"/>
                <a:cs typeface="Myriad Arabic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38803" y="6366129"/>
            <a:ext cx="3895343" cy="3422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8647" y="6366129"/>
            <a:ext cx="2799778" cy="3422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9951FD-B30A-447B-8B40-0EFB2AEC4036}" type="datetime1">
              <a:rPr lang="ru-RU" smtClean="0"/>
              <a:t>23.12.2020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64524" y="6366129"/>
            <a:ext cx="2799778" cy="3422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79" r:id="rId6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004D74C-E23C-4284-A797-C3FE15A88F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454" y="364449"/>
            <a:ext cx="10493693" cy="132310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BBCE0FB5-D457-417B-A1E8-BD41E89285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6454" y="1822244"/>
            <a:ext cx="10493693" cy="43432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9306C552-195E-469C-8425-C528570A921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6454" y="6344579"/>
            <a:ext cx="2737485" cy="3644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ABEE13F-0C28-40E0-8BCE-A98AC580BF75}" type="datetime1">
              <a:rPr lang="ru-RU" smtClean="0"/>
              <a:t>23.12.2020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EF20E0D-94F8-4326-B8F1-9FFCE110DB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0186" y="6344579"/>
            <a:ext cx="4106228" cy="3644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9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53C2A62-01C7-450F-8322-8EBA4A2D4A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92661" y="6344579"/>
            <a:ext cx="2737485" cy="3644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9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54A1E0-1654-4A7F-AA48-6C9BE68E373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43659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</p:sldLayoutIdLst>
  <p:hf hdr="0" ftr="0" dt="0"/>
  <p:txStyles>
    <p:titleStyle>
      <a:lvl1pPr algn="l" defTabSz="912480" rtl="0" eaLnBrk="1" latinLnBrk="0" hangingPunct="1">
        <a:lnSpc>
          <a:spcPct val="90000"/>
        </a:lnSpc>
        <a:spcBef>
          <a:spcPct val="0"/>
        </a:spcBef>
        <a:buNone/>
        <a:defRPr sz="439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120" indent="-228120" algn="l" defTabSz="912480" rtl="0" eaLnBrk="1" latinLnBrk="0" hangingPunct="1">
        <a:lnSpc>
          <a:spcPct val="90000"/>
        </a:lnSpc>
        <a:spcBef>
          <a:spcPts val="998"/>
        </a:spcBef>
        <a:buFont typeface="Arial" panose="020B0604020202020204" pitchFamily="34" charset="0"/>
        <a:buChar char="•"/>
        <a:defRPr sz="2794" kern="1200">
          <a:solidFill>
            <a:schemeClr val="tx1"/>
          </a:solidFill>
          <a:latin typeface="+mn-lt"/>
          <a:ea typeface="+mn-ea"/>
          <a:cs typeface="+mn-cs"/>
        </a:defRPr>
      </a:lvl1pPr>
      <a:lvl2pPr marL="684360" indent="-228120" algn="l" defTabSz="912480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2395" kern="1200">
          <a:solidFill>
            <a:schemeClr val="tx1"/>
          </a:solidFill>
          <a:latin typeface="+mn-lt"/>
          <a:ea typeface="+mn-ea"/>
          <a:cs typeface="+mn-cs"/>
        </a:defRPr>
      </a:lvl2pPr>
      <a:lvl3pPr marL="1140600" indent="-228120" algn="l" defTabSz="912480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996" kern="1200">
          <a:solidFill>
            <a:schemeClr val="tx1"/>
          </a:solidFill>
          <a:latin typeface="+mn-lt"/>
          <a:ea typeface="+mn-ea"/>
          <a:cs typeface="+mn-cs"/>
        </a:defRPr>
      </a:lvl3pPr>
      <a:lvl4pPr marL="1596840" indent="-228120" algn="l" defTabSz="912480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6" kern="1200">
          <a:solidFill>
            <a:schemeClr val="tx1"/>
          </a:solidFill>
          <a:latin typeface="+mn-lt"/>
          <a:ea typeface="+mn-ea"/>
          <a:cs typeface="+mn-cs"/>
        </a:defRPr>
      </a:lvl4pPr>
      <a:lvl5pPr marL="2053079" indent="-228120" algn="l" defTabSz="912480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6" kern="1200">
          <a:solidFill>
            <a:schemeClr val="tx1"/>
          </a:solidFill>
          <a:latin typeface="+mn-lt"/>
          <a:ea typeface="+mn-ea"/>
          <a:cs typeface="+mn-cs"/>
        </a:defRPr>
      </a:lvl5pPr>
      <a:lvl6pPr marL="2509319" indent="-228120" algn="l" defTabSz="912480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6" kern="1200">
          <a:solidFill>
            <a:schemeClr val="tx1"/>
          </a:solidFill>
          <a:latin typeface="+mn-lt"/>
          <a:ea typeface="+mn-ea"/>
          <a:cs typeface="+mn-cs"/>
        </a:defRPr>
      </a:lvl6pPr>
      <a:lvl7pPr marL="2965559" indent="-228120" algn="l" defTabSz="912480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6" kern="1200">
          <a:solidFill>
            <a:schemeClr val="tx1"/>
          </a:solidFill>
          <a:latin typeface="+mn-lt"/>
          <a:ea typeface="+mn-ea"/>
          <a:cs typeface="+mn-cs"/>
        </a:defRPr>
      </a:lvl7pPr>
      <a:lvl8pPr marL="3421799" indent="-228120" algn="l" defTabSz="912480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6" kern="1200">
          <a:solidFill>
            <a:schemeClr val="tx1"/>
          </a:solidFill>
          <a:latin typeface="+mn-lt"/>
          <a:ea typeface="+mn-ea"/>
          <a:cs typeface="+mn-cs"/>
        </a:defRPr>
      </a:lvl8pPr>
      <a:lvl9pPr marL="3878039" indent="-228120" algn="l" defTabSz="912480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2480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1pPr>
      <a:lvl2pPr marL="456240" algn="l" defTabSz="912480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2pPr>
      <a:lvl3pPr marL="912480" algn="l" defTabSz="912480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3pPr>
      <a:lvl4pPr marL="1368720" algn="l" defTabSz="912480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4pPr>
      <a:lvl5pPr marL="1824960" algn="l" defTabSz="912480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5pPr>
      <a:lvl6pPr marL="2281199" algn="l" defTabSz="912480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6pPr>
      <a:lvl7pPr marL="2737439" algn="l" defTabSz="912480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7pPr>
      <a:lvl8pPr marL="3193679" algn="l" defTabSz="912480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8pPr>
      <a:lvl9pPr marL="3649919" algn="l" defTabSz="912480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Заголовок 1"/>
          <p:cNvSpPr>
            <a:spLocks noGrp="1"/>
          </p:cNvSpPr>
          <p:nvPr>
            <p:ph type="title"/>
          </p:nvPr>
        </p:nvSpPr>
        <p:spPr bwMode="auto">
          <a:xfrm>
            <a:off x="836454" y="364449"/>
            <a:ext cx="10493693" cy="13231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sp>
        <p:nvSpPr>
          <p:cNvPr id="27651" name="Текст 2"/>
          <p:cNvSpPr>
            <a:spLocks noGrp="1"/>
          </p:cNvSpPr>
          <p:nvPr>
            <p:ph type="body" idx="1"/>
          </p:nvPr>
        </p:nvSpPr>
        <p:spPr bwMode="auto">
          <a:xfrm>
            <a:off x="836454" y="1822244"/>
            <a:ext cx="10493693" cy="43432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6454" y="6344579"/>
            <a:ext cx="2737485" cy="3644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197" smtClean="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2F721E2C-CFDC-4947-9A6E-281748F70C2F}" type="datetimeFigureOut">
              <a:rPr lang="ru-RU"/>
              <a:pPr>
                <a:defRPr/>
              </a:pPr>
              <a:t>23.1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0186" y="6344579"/>
            <a:ext cx="4106228" cy="3644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197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592661" y="6344579"/>
            <a:ext cx="2737485" cy="3644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197" smtClean="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289DAE7B-A70D-4BBE-A669-2D0284CD8D5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21642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90" r:id="rId2"/>
    <p:sldLayoutId id="2147483791" r:id="rId3"/>
    <p:sldLayoutId id="2147483792" r:id="rId4"/>
    <p:sldLayoutId id="2147483793" r:id="rId5"/>
    <p:sldLayoutId id="2147483794" r:id="rId6"/>
    <p:sldLayoutId id="2147483795" r:id="rId7"/>
    <p:sldLayoutId id="2147483796" r:id="rId8"/>
    <p:sldLayoutId id="2147483797" r:id="rId9"/>
    <p:sldLayoutId id="2147483798" r:id="rId10"/>
    <p:sldLayoutId id="2147483799" r:id="rId11"/>
  </p:sldLayoutIdLst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439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4391">
          <a:solidFill>
            <a:schemeClr val="tx1"/>
          </a:solidFill>
          <a:latin typeface="Calibri Light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4391">
          <a:solidFill>
            <a:schemeClr val="tx1"/>
          </a:solidFill>
          <a:latin typeface="Calibri Light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4391">
          <a:solidFill>
            <a:schemeClr val="tx1"/>
          </a:solidFill>
          <a:latin typeface="Calibri Light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4391">
          <a:solidFill>
            <a:schemeClr val="tx1"/>
          </a:solidFill>
          <a:latin typeface="Calibri Light"/>
        </a:defRPr>
      </a:lvl5pPr>
      <a:lvl6pPr marL="456240" algn="l" rtl="0" fontAlgn="base">
        <a:lnSpc>
          <a:spcPct val="90000"/>
        </a:lnSpc>
        <a:spcBef>
          <a:spcPct val="0"/>
        </a:spcBef>
        <a:spcAft>
          <a:spcPct val="0"/>
        </a:spcAft>
        <a:defRPr sz="4391">
          <a:solidFill>
            <a:schemeClr val="tx1"/>
          </a:solidFill>
          <a:latin typeface="Calibri Light"/>
        </a:defRPr>
      </a:lvl6pPr>
      <a:lvl7pPr marL="912480" algn="l" rtl="0" fontAlgn="base">
        <a:lnSpc>
          <a:spcPct val="90000"/>
        </a:lnSpc>
        <a:spcBef>
          <a:spcPct val="0"/>
        </a:spcBef>
        <a:spcAft>
          <a:spcPct val="0"/>
        </a:spcAft>
        <a:defRPr sz="4391">
          <a:solidFill>
            <a:schemeClr val="tx1"/>
          </a:solidFill>
          <a:latin typeface="Calibri Light"/>
        </a:defRPr>
      </a:lvl7pPr>
      <a:lvl8pPr marL="1368720" algn="l" rtl="0" fontAlgn="base">
        <a:lnSpc>
          <a:spcPct val="90000"/>
        </a:lnSpc>
        <a:spcBef>
          <a:spcPct val="0"/>
        </a:spcBef>
        <a:spcAft>
          <a:spcPct val="0"/>
        </a:spcAft>
        <a:defRPr sz="4391">
          <a:solidFill>
            <a:schemeClr val="tx1"/>
          </a:solidFill>
          <a:latin typeface="Calibri Light"/>
        </a:defRPr>
      </a:lvl8pPr>
      <a:lvl9pPr marL="1824960" algn="l" rtl="0" fontAlgn="base">
        <a:lnSpc>
          <a:spcPct val="90000"/>
        </a:lnSpc>
        <a:spcBef>
          <a:spcPct val="0"/>
        </a:spcBef>
        <a:spcAft>
          <a:spcPct val="0"/>
        </a:spcAft>
        <a:defRPr sz="4391">
          <a:solidFill>
            <a:schemeClr val="tx1"/>
          </a:solidFill>
          <a:latin typeface="Calibri Light"/>
        </a:defRPr>
      </a:lvl9pPr>
    </p:titleStyle>
    <p:bodyStyle>
      <a:lvl1pPr marL="228120" indent="-228120" algn="l" rtl="0" fontAlgn="base">
        <a:lnSpc>
          <a:spcPct val="90000"/>
        </a:lnSpc>
        <a:spcBef>
          <a:spcPts val="998"/>
        </a:spcBef>
        <a:spcAft>
          <a:spcPct val="0"/>
        </a:spcAft>
        <a:buFont typeface="Arial" charset="0"/>
        <a:buChar char="•"/>
        <a:defRPr sz="2794" kern="1200">
          <a:solidFill>
            <a:schemeClr val="tx1"/>
          </a:solidFill>
          <a:latin typeface="+mn-lt"/>
          <a:ea typeface="+mn-ea"/>
          <a:cs typeface="+mn-cs"/>
        </a:defRPr>
      </a:lvl1pPr>
      <a:lvl2pPr marL="684360" indent="-228120" algn="l" rtl="0" fontAlgn="base">
        <a:lnSpc>
          <a:spcPct val="90000"/>
        </a:lnSpc>
        <a:spcBef>
          <a:spcPts val="499"/>
        </a:spcBef>
        <a:spcAft>
          <a:spcPct val="0"/>
        </a:spcAft>
        <a:buFont typeface="Arial" charset="0"/>
        <a:buChar char="•"/>
        <a:defRPr sz="2395" kern="1200">
          <a:solidFill>
            <a:schemeClr val="tx1"/>
          </a:solidFill>
          <a:latin typeface="+mn-lt"/>
          <a:ea typeface="+mn-ea"/>
          <a:cs typeface="+mn-cs"/>
        </a:defRPr>
      </a:lvl2pPr>
      <a:lvl3pPr marL="1140600" indent="-228120" algn="l" rtl="0" fontAlgn="base">
        <a:lnSpc>
          <a:spcPct val="90000"/>
        </a:lnSpc>
        <a:spcBef>
          <a:spcPts val="499"/>
        </a:spcBef>
        <a:spcAft>
          <a:spcPct val="0"/>
        </a:spcAft>
        <a:buFont typeface="Arial" charset="0"/>
        <a:buChar char="•"/>
        <a:defRPr sz="1996" kern="1200">
          <a:solidFill>
            <a:schemeClr val="tx1"/>
          </a:solidFill>
          <a:latin typeface="+mn-lt"/>
          <a:ea typeface="+mn-ea"/>
          <a:cs typeface="+mn-cs"/>
        </a:defRPr>
      </a:lvl3pPr>
      <a:lvl4pPr marL="1596840" indent="-228120" algn="l" rtl="0" fontAlgn="base">
        <a:lnSpc>
          <a:spcPct val="90000"/>
        </a:lnSpc>
        <a:spcBef>
          <a:spcPts val="499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3079" indent="-228120" algn="l" rtl="0" fontAlgn="base">
        <a:lnSpc>
          <a:spcPct val="90000"/>
        </a:lnSpc>
        <a:spcBef>
          <a:spcPts val="499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09319" indent="-228120" algn="l" defTabSz="912480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6" kern="1200">
          <a:solidFill>
            <a:schemeClr val="tx1"/>
          </a:solidFill>
          <a:latin typeface="+mn-lt"/>
          <a:ea typeface="+mn-ea"/>
          <a:cs typeface="+mn-cs"/>
        </a:defRPr>
      </a:lvl6pPr>
      <a:lvl7pPr marL="2965559" indent="-228120" algn="l" defTabSz="912480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6" kern="1200">
          <a:solidFill>
            <a:schemeClr val="tx1"/>
          </a:solidFill>
          <a:latin typeface="+mn-lt"/>
          <a:ea typeface="+mn-ea"/>
          <a:cs typeface="+mn-cs"/>
        </a:defRPr>
      </a:lvl7pPr>
      <a:lvl8pPr marL="3421799" indent="-228120" algn="l" defTabSz="912480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6" kern="1200">
          <a:solidFill>
            <a:schemeClr val="tx1"/>
          </a:solidFill>
          <a:latin typeface="+mn-lt"/>
          <a:ea typeface="+mn-ea"/>
          <a:cs typeface="+mn-cs"/>
        </a:defRPr>
      </a:lvl8pPr>
      <a:lvl9pPr marL="3878039" indent="-228120" algn="l" defTabSz="912480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2480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1pPr>
      <a:lvl2pPr marL="456240" algn="l" defTabSz="912480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2pPr>
      <a:lvl3pPr marL="912480" algn="l" defTabSz="912480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3pPr>
      <a:lvl4pPr marL="1368720" algn="l" defTabSz="912480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4pPr>
      <a:lvl5pPr marL="1824960" algn="l" defTabSz="912480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5pPr>
      <a:lvl6pPr marL="2281199" algn="l" defTabSz="912480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6pPr>
      <a:lvl7pPr marL="2737439" algn="l" defTabSz="912480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7pPr>
      <a:lvl8pPr marL="3193679" algn="l" defTabSz="912480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8pPr>
      <a:lvl9pPr marL="3649919" algn="l" defTabSz="912480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6454" y="364449"/>
            <a:ext cx="10493693" cy="132310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6454" y="1822244"/>
            <a:ext cx="10493693" cy="43432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6454" y="6344579"/>
            <a:ext cx="2737485" cy="3644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CC4530-C058-40E2-9FD1-8DDEA00CD331}" type="datetimeFigureOut">
              <a:rPr lang="ru-RU" smtClean="0"/>
              <a:pPr/>
              <a:t>23.1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0186" y="6344579"/>
            <a:ext cx="4106228" cy="3644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9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592661" y="6344579"/>
            <a:ext cx="2737485" cy="3644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9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E3F76E-41CC-43AC-B7C2-47ADF64BE8C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6101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</p:sldLayoutIdLst>
  <p:txStyles>
    <p:titleStyle>
      <a:lvl1pPr algn="l" defTabSz="912480" rtl="0" eaLnBrk="1" latinLnBrk="0" hangingPunct="1">
        <a:lnSpc>
          <a:spcPct val="90000"/>
        </a:lnSpc>
        <a:spcBef>
          <a:spcPct val="0"/>
        </a:spcBef>
        <a:buNone/>
        <a:defRPr sz="439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120" indent="-228120" algn="l" defTabSz="912480" rtl="0" eaLnBrk="1" latinLnBrk="0" hangingPunct="1">
        <a:lnSpc>
          <a:spcPct val="90000"/>
        </a:lnSpc>
        <a:spcBef>
          <a:spcPts val="998"/>
        </a:spcBef>
        <a:buFont typeface="Arial" panose="020B0604020202020204" pitchFamily="34" charset="0"/>
        <a:buChar char="•"/>
        <a:defRPr sz="2794" kern="1200">
          <a:solidFill>
            <a:schemeClr val="tx1"/>
          </a:solidFill>
          <a:latin typeface="+mn-lt"/>
          <a:ea typeface="+mn-ea"/>
          <a:cs typeface="+mn-cs"/>
        </a:defRPr>
      </a:lvl1pPr>
      <a:lvl2pPr marL="684360" indent="-228120" algn="l" defTabSz="912480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2395" kern="1200">
          <a:solidFill>
            <a:schemeClr val="tx1"/>
          </a:solidFill>
          <a:latin typeface="+mn-lt"/>
          <a:ea typeface="+mn-ea"/>
          <a:cs typeface="+mn-cs"/>
        </a:defRPr>
      </a:lvl2pPr>
      <a:lvl3pPr marL="1140600" indent="-228120" algn="l" defTabSz="912480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996" kern="1200">
          <a:solidFill>
            <a:schemeClr val="tx1"/>
          </a:solidFill>
          <a:latin typeface="+mn-lt"/>
          <a:ea typeface="+mn-ea"/>
          <a:cs typeface="+mn-cs"/>
        </a:defRPr>
      </a:lvl3pPr>
      <a:lvl4pPr marL="1596840" indent="-228120" algn="l" defTabSz="912480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6" kern="1200">
          <a:solidFill>
            <a:schemeClr val="tx1"/>
          </a:solidFill>
          <a:latin typeface="+mn-lt"/>
          <a:ea typeface="+mn-ea"/>
          <a:cs typeface="+mn-cs"/>
        </a:defRPr>
      </a:lvl4pPr>
      <a:lvl5pPr marL="2053079" indent="-228120" algn="l" defTabSz="912480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6" kern="1200">
          <a:solidFill>
            <a:schemeClr val="tx1"/>
          </a:solidFill>
          <a:latin typeface="+mn-lt"/>
          <a:ea typeface="+mn-ea"/>
          <a:cs typeface="+mn-cs"/>
        </a:defRPr>
      </a:lvl5pPr>
      <a:lvl6pPr marL="2509319" indent="-228120" algn="l" defTabSz="912480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6" kern="1200">
          <a:solidFill>
            <a:schemeClr val="tx1"/>
          </a:solidFill>
          <a:latin typeface="+mn-lt"/>
          <a:ea typeface="+mn-ea"/>
          <a:cs typeface="+mn-cs"/>
        </a:defRPr>
      </a:lvl6pPr>
      <a:lvl7pPr marL="2965559" indent="-228120" algn="l" defTabSz="912480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6" kern="1200">
          <a:solidFill>
            <a:schemeClr val="tx1"/>
          </a:solidFill>
          <a:latin typeface="+mn-lt"/>
          <a:ea typeface="+mn-ea"/>
          <a:cs typeface="+mn-cs"/>
        </a:defRPr>
      </a:lvl7pPr>
      <a:lvl8pPr marL="3421799" indent="-228120" algn="l" defTabSz="912480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6" kern="1200">
          <a:solidFill>
            <a:schemeClr val="tx1"/>
          </a:solidFill>
          <a:latin typeface="+mn-lt"/>
          <a:ea typeface="+mn-ea"/>
          <a:cs typeface="+mn-cs"/>
        </a:defRPr>
      </a:lvl8pPr>
      <a:lvl9pPr marL="3878039" indent="-228120" algn="l" defTabSz="912480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2480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1pPr>
      <a:lvl2pPr marL="456240" algn="l" defTabSz="912480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2pPr>
      <a:lvl3pPr marL="912480" algn="l" defTabSz="912480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3pPr>
      <a:lvl4pPr marL="1368720" algn="l" defTabSz="912480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4pPr>
      <a:lvl5pPr marL="1824960" algn="l" defTabSz="912480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5pPr>
      <a:lvl6pPr marL="2281199" algn="l" defTabSz="912480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6pPr>
      <a:lvl7pPr marL="2737439" algn="l" defTabSz="912480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7pPr>
      <a:lvl8pPr marL="3193679" algn="l" defTabSz="912480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8pPr>
      <a:lvl9pPr marL="3649919" algn="l" defTabSz="912480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325526502"/>
              </p:ext>
            </p:extLst>
          </p:nvPr>
        </p:nvGraphicFramePr>
        <p:xfrm>
          <a:off x="1588" y="1589"/>
          <a:ext cx="1583" cy="15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5" imgW="473" imgH="473" progId="TCLayout.ActiveDocument.1">
                  <p:embed/>
                </p:oleObj>
              </mc:Choice>
              <mc:Fallback>
                <p:oleObj name="Слайд think-cell" r:id="rId15" imgW="473" imgH="473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3" cy="15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/>
          <p:cNvSpPr/>
          <p:nvPr userDrawn="1"/>
        </p:nvSpPr>
        <p:spPr>
          <a:xfrm>
            <a:off x="-1532567" y="1844914"/>
            <a:ext cx="1402635" cy="649899"/>
          </a:xfrm>
          <a:prstGeom prst="rect">
            <a:avLst/>
          </a:prstGeom>
          <a:solidFill>
            <a:srgbClr val="95C11F"/>
          </a:solidFill>
          <a:ln w="0" cap="flat" cmpd="sng" algn="ctr">
            <a:noFill/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70787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R: </a:t>
            </a:r>
            <a:r>
              <a:rPr lang="ru-RU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149</a:t>
            </a:r>
            <a:endParaRPr lang="en-US" sz="973" b="1" i="0" dirty="0">
              <a:solidFill>
                <a:srgbClr val="FFFFFF"/>
              </a:solidFill>
              <a:latin typeface="Arial" panose="020B0604020202020204" pitchFamily="34" charset="0"/>
            </a:endParaRPr>
          </a:p>
          <a:p>
            <a:pPr algn="l"/>
            <a: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G: </a:t>
            </a:r>
            <a:r>
              <a:rPr lang="ru-RU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193</a:t>
            </a:r>
            <a:b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</a:br>
            <a: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B:</a:t>
            </a:r>
            <a:r>
              <a:rPr lang="en-US" sz="973" b="1" i="0" baseline="0" dirty="0">
                <a:solidFill>
                  <a:srgbClr val="FFFFFF"/>
                </a:solidFill>
                <a:latin typeface="Arial" panose="020B0604020202020204" pitchFamily="34" charset="0"/>
              </a:rPr>
              <a:t> </a:t>
            </a:r>
            <a:r>
              <a:rPr lang="ru-RU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31</a:t>
            </a:r>
            <a:endParaRPr lang="en-US" sz="973" b="1" i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-1532567" y="298900"/>
            <a:ext cx="1402635" cy="649899"/>
          </a:xfrm>
          <a:prstGeom prst="rect">
            <a:avLst/>
          </a:prstGeom>
          <a:solidFill>
            <a:srgbClr val="333333"/>
          </a:solidFill>
          <a:ln w="0" cap="flat" cmpd="sng" algn="ctr">
            <a:noFill/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70787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R: 51</a:t>
            </a:r>
          </a:p>
          <a:p>
            <a:pPr algn="l"/>
            <a: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G: 51</a:t>
            </a:r>
            <a:b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</a:br>
            <a: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B:</a:t>
            </a:r>
            <a:r>
              <a:rPr lang="en-US" sz="973" b="1" i="0" baseline="0" dirty="0">
                <a:solidFill>
                  <a:srgbClr val="FFFFFF"/>
                </a:solidFill>
                <a:latin typeface="Arial" panose="020B0604020202020204" pitchFamily="34" charset="0"/>
              </a:rPr>
              <a:t> 51</a:t>
            </a:r>
            <a:endParaRPr lang="en-US" sz="973" b="1" i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-1532567" y="1071907"/>
            <a:ext cx="1402635" cy="649899"/>
          </a:xfrm>
          <a:prstGeom prst="rect">
            <a:avLst/>
          </a:prstGeom>
          <a:solidFill>
            <a:srgbClr val="717171"/>
          </a:solidFill>
          <a:ln w="0" cap="flat" cmpd="sng" algn="ctr">
            <a:noFill/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70787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R: 113</a:t>
            </a:r>
          </a:p>
          <a:p>
            <a:pPr algn="l"/>
            <a: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G: 113</a:t>
            </a:r>
            <a:b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</a:br>
            <a: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B:</a:t>
            </a:r>
            <a:r>
              <a:rPr lang="en-US" sz="973" b="1" i="0" baseline="0" dirty="0">
                <a:solidFill>
                  <a:srgbClr val="FFFFFF"/>
                </a:solidFill>
                <a:latin typeface="Arial" panose="020B0604020202020204" pitchFamily="34" charset="0"/>
              </a:rPr>
              <a:t> 113</a:t>
            </a:r>
            <a:endParaRPr lang="en-US" sz="973" b="1" i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-1532567" y="3390925"/>
            <a:ext cx="1402635" cy="649899"/>
          </a:xfrm>
          <a:prstGeom prst="rect">
            <a:avLst/>
          </a:prstGeom>
          <a:solidFill>
            <a:schemeClr val="accent3"/>
          </a:solidFill>
          <a:ln w="0" cap="flat" cmpd="sng" algn="ctr">
            <a:noFill/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70787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R: 2</a:t>
            </a:r>
            <a:r>
              <a:rPr lang="ru-RU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55</a:t>
            </a:r>
            <a:endParaRPr lang="en-US" sz="973" b="1" i="0" dirty="0">
              <a:solidFill>
                <a:srgbClr val="FFFFFF"/>
              </a:solidFill>
              <a:latin typeface="Arial" panose="020B0604020202020204" pitchFamily="34" charset="0"/>
            </a:endParaRPr>
          </a:p>
          <a:p>
            <a:pPr algn="l"/>
            <a: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G: </a:t>
            </a:r>
            <a:r>
              <a:rPr lang="ru-RU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153</a:t>
            </a:r>
            <a:b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</a:br>
            <a: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B:</a:t>
            </a:r>
            <a:r>
              <a:rPr lang="en-US" sz="973" b="1" i="0" baseline="0" dirty="0">
                <a:solidFill>
                  <a:srgbClr val="FFFFFF"/>
                </a:solidFill>
                <a:latin typeface="Arial" panose="020B0604020202020204" pitchFamily="34" charset="0"/>
              </a:rPr>
              <a:t> </a:t>
            </a:r>
            <a:r>
              <a:rPr lang="ru-RU" sz="973" b="1" i="0" baseline="0" dirty="0">
                <a:solidFill>
                  <a:srgbClr val="FFFFFF"/>
                </a:solidFill>
                <a:latin typeface="Arial" panose="020B0604020202020204" pitchFamily="34" charset="0"/>
              </a:rPr>
              <a:t>102</a:t>
            </a:r>
            <a:endParaRPr lang="en-US" sz="973" b="1" i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-1532567" y="4163934"/>
            <a:ext cx="1402635" cy="649899"/>
          </a:xfrm>
          <a:prstGeom prst="rect">
            <a:avLst/>
          </a:prstGeom>
          <a:solidFill>
            <a:schemeClr val="accent4"/>
          </a:solidFill>
          <a:ln w="0" cap="flat" cmpd="sng" algn="ctr">
            <a:noFill/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70787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R: </a:t>
            </a:r>
            <a:r>
              <a:rPr lang="ru-RU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177</a:t>
            </a:r>
            <a:endParaRPr lang="en-US" sz="973" b="1" i="0" dirty="0">
              <a:solidFill>
                <a:srgbClr val="FFFFFF"/>
              </a:solidFill>
              <a:latin typeface="Arial" panose="020B0604020202020204" pitchFamily="34" charset="0"/>
            </a:endParaRPr>
          </a:p>
          <a:p>
            <a:pPr algn="l"/>
            <a: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G: </a:t>
            </a:r>
            <a:r>
              <a:rPr lang="ru-RU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86</a:t>
            </a:r>
            <a:b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</a:br>
            <a: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B:</a:t>
            </a:r>
            <a:r>
              <a:rPr lang="en-US" sz="973" b="1" i="0" baseline="0" dirty="0">
                <a:solidFill>
                  <a:srgbClr val="FFFFFF"/>
                </a:solidFill>
                <a:latin typeface="Arial" panose="020B0604020202020204" pitchFamily="34" charset="0"/>
              </a:rPr>
              <a:t> </a:t>
            </a:r>
            <a:r>
              <a:rPr lang="ru-RU" sz="973" b="1" i="0" baseline="0" dirty="0">
                <a:solidFill>
                  <a:srgbClr val="FFFFFF"/>
                </a:solidFill>
                <a:latin typeface="Arial" panose="020B0604020202020204" pitchFamily="34" charset="0"/>
              </a:rPr>
              <a:t>97</a:t>
            </a:r>
            <a:endParaRPr lang="en-US" sz="973" b="1" i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-1532567" y="4936941"/>
            <a:ext cx="1402635" cy="649899"/>
          </a:xfrm>
          <a:prstGeom prst="rect">
            <a:avLst/>
          </a:prstGeom>
          <a:solidFill>
            <a:schemeClr val="accent5"/>
          </a:solidFill>
          <a:ln w="0" cap="flat" cmpd="sng" algn="ctr">
            <a:noFill/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70787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R: </a:t>
            </a:r>
            <a:r>
              <a:rPr lang="ru-RU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202</a:t>
            </a:r>
            <a:endParaRPr lang="en-US" sz="973" b="1" i="0" dirty="0">
              <a:solidFill>
                <a:srgbClr val="FFFFFF"/>
              </a:solidFill>
              <a:latin typeface="Arial" panose="020B0604020202020204" pitchFamily="34" charset="0"/>
            </a:endParaRPr>
          </a:p>
          <a:p>
            <a:pPr algn="l"/>
            <a: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G: </a:t>
            </a:r>
            <a:r>
              <a:rPr lang="ru-RU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202</a:t>
            </a:r>
            <a:b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</a:br>
            <a: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B:</a:t>
            </a:r>
            <a:r>
              <a:rPr lang="en-US" sz="973" b="1" i="0" baseline="0" dirty="0">
                <a:solidFill>
                  <a:srgbClr val="FFFFFF"/>
                </a:solidFill>
                <a:latin typeface="Arial" panose="020B0604020202020204" pitchFamily="34" charset="0"/>
              </a:rPr>
              <a:t> </a:t>
            </a:r>
            <a:r>
              <a:rPr lang="ru-RU" sz="973" b="1" i="0" baseline="0" dirty="0">
                <a:solidFill>
                  <a:srgbClr val="FFFFFF"/>
                </a:solidFill>
                <a:latin typeface="Arial" panose="020B0604020202020204" pitchFamily="34" charset="0"/>
              </a:rPr>
              <a:t>202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-1532567" y="2617921"/>
            <a:ext cx="1402635" cy="649899"/>
          </a:xfrm>
          <a:prstGeom prst="rect">
            <a:avLst/>
          </a:prstGeom>
          <a:solidFill>
            <a:srgbClr val="395175"/>
          </a:solidFill>
          <a:ln w="0" cap="flat" cmpd="sng" algn="ctr">
            <a:noFill/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70787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R: 5</a:t>
            </a:r>
            <a:r>
              <a:rPr lang="ru-RU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7</a:t>
            </a:r>
            <a:endParaRPr lang="en-US" sz="973" b="1" i="0" dirty="0">
              <a:solidFill>
                <a:srgbClr val="FFFFFF"/>
              </a:solidFill>
              <a:latin typeface="Arial" panose="020B0604020202020204" pitchFamily="34" charset="0"/>
            </a:endParaRPr>
          </a:p>
          <a:p>
            <a:pPr algn="l"/>
            <a: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G: </a:t>
            </a:r>
            <a:r>
              <a:rPr lang="ru-RU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8</a:t>
            </a:r>
            <a: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1</a:t>
            </a:r>
            <a:b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</a:br>
            <a: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B:</a:t>
            </a:r>
            <a:r>
              <a:rPr lang="en-US" sz="973" b="1" i="0" baseline="0" dirty="0">
                <a:solidFill>
                  <a:srgbClr val="FFFFFF"/>
                </a:solidFill>
                <a:latin typeface="Arial" panose="020B0604020202020204" pitchFamily="34" charset="0"/>
              </a:rPr>
              <a:t> </a:t>
            </a:r>
            <a:r>
              <a:rPr lang="ru-RU" sz="973" b="1" i="0" baseline="0" dirty="0">
                <a:solidFill>
                  <a:srgbClr val="FFFFFF"/>
                </a:solidFill>
                <a:latin typeface="Arial" panose="020B0604020202020204" pitchFamily="34" charset="0"/>
              </a:rPr>
              <a:t>1</a:t>
            </a:r>
            <a:r>
              <a:rPr lang="en-US" sz="973" b="1" i="0" baseline="0" dirty="0">
                <a:solidFill>
                  <a:srgbClr val="FFFFFF"/>
                </a:solidFill>
                <a:latin typeface="Arial" panose="020B0604020202020204" pitchFamily="34" charset="0"/>
              </a:rPr>
              <a:t>1</a:t>
            </a:r>
            <a:r>
              <a:rPr lang="ru-RU" sz="973" b="1" i="0" baseline="0" dirty="0">
                <a:solidFill>
                  <a:srgbClr val="FFFFFF"/>
                </a:solidFill>
                <a:latin typeface="Arial" panose="020B0604020202020204" pitchFamily="34" charset="0"/>
              </a:rPr>
              <a:t>7</a:t>
            </a:r>
            <a:endParaRPr lang="en-US" sz="973" b="1" i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1" name="Rectangle 30"/>
          <p:cNvSpPr/>
          <p:nvPr userDrawn="1"/>
        </p:nvSpPr>
        <p:spPr>
          <a:xfrm>
            <a:off x="-1532567" y="5709945"/>
            <a:ext cx="1402635" cy="649899"/>
          </a:xfrm>
          <a:prstGeom prst="rect">
            <a:avLst/>
          </a:prstGeom>
          <a:solidFill>
            <a:schemeClr val="accent6"/>
          </a:solidFill>
          <a:ln w="0" cap="flat" cmpd="sng" algn="ctr">
            <a:noFill/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70787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R: </a:t>
            </a:r>
            <a:r>
              <a:rPr lang="ru-RU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255</a:t>
            </a:r>
            <a:endParaRPr lang="en-US" sz="973" b="1" i="0" dirty="0">
              <a:solidFill>
                <a:srgbClr val="FFFFFF"/>
              </a:solidFill>
              <a:latin typeface="Arial" panose="020B0604020202020204" pitchFamily="34" charset="0"/>
            </a:endParaRPr>
          </a:p>
          <a:p>
            <a:pPr algn="l"/>
            <a: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G: </a:t>
            </a:r>
            <a:r>
              <a:rPr lang="ru-RU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153</a:t>
            </a:r>
            <a:b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</a:br>
            <a: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B:</a:t>
            </a:r>
            <a:r>
              <a:rPr lang="en-US" sz="973" b="1" i="0" baseline="0" dirty="0">
                <a:solidFill>
                  <a:srgbClr val="FFFFFF"/>
                </a:solidFill>
                <a:latin typeface="Arial" panose="020B0604020202020204" pitchFamily="34" charset="0"/>
              </a:rPr>
              <a:t> </a:t>
            </a:r>
            <a:r>
              <a:rPr lang="ru-RU" sz="973" b="1" i="0" baseline="0" dirty="0">
                <a:solidFill>
                  <a:srgbClr val="FFFFFF"/>
                </a:solidFill>
                <a:latin typeface="Arial" panose="020B0604020202020204" pitchFamily="34" charset="0"/>
              </a:rPr>
              <a:t>153</a:t>
            </a:r>
          </a:p>
        </p:txBody>
      </p:sp>
    </p:spTree>
    <p:extLst>
      <p:ext uri="{BB962C8B-B14F-4D97-AF65-F5344CB8AC3E}">
        <p14:creationId xmlns:p14="http://schemas.microsoft.com/office/powerpoint/2010/main" val="1073683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  <p:sldLayoutId id="2147483816" r:id="rId4"/>
    <p:sldLayoutId id="2147483817" r:id="rId5"/>
    <p:sldLayoutId id="2147483818" r:id="rId6"/>
    <p:sldLayoutId id="2147483819" r:id="rId7"/>
    <p:sldLayoutId id="2147483820" r:id="rId8"/>
    <p:sldLayoutId id="2147483821" r:id="rId9"/>
    <p:sldLayoutId id="2147483822" r:id="rId10"/>
    <p:sldLayoutId id="2147483823" r:id="rId11"/>
    <p:sldLayoutId id="2147483824" r:id="rId12"/>
  </p:sldLayoutIdLst>
  <p:hf hdr="0" ftr="0" dt="0"/>
  <p:txStyles>
    <p:titleStyle>
      <a:lvl1pPr algn="ctr" defTabSz="433852" rtl="0" eaLnBrk="0" fontAlgn="base" hangingPunct="0">
        <a:spcBef>
          <a:spcPct val="0"/>
        </a:spcBef>
        <a:spcAft>
          <a:spcPct val="0"/>
        </a:spcAft>
        <a:defRPr sz="4217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33852" rtl="0" eaLnBrk="0" fontAlgn="base" hangingPunct="0">
        <a:spcBef>
          <a:spcPct val="0"/>
        </a:spcBef>
        <a:spcAft>
          <a:spcPct val="0"/>
        </a:spcAft>
        <a:defRPr sz="4217">
          <a:solidFill>
            <a:schemeClr val="tx1"/>
          </a:solidFill>
          <a:latin typeface="Arial Black" panose="020B0A04020102020204" pitchFamily="34" charset="0"/>
        </a:defRPr>
      </a:lvl2pPr>
      <a:lvl3pPr algn="ctr" defTabSz="433852" rtl="0" eaLnBrk="0" fontAlgn="base" hangingPunct="0">
        <a:spcBef>
          <a:spcPct val="0"/>
        </a:spcBef>
        <a:spcAft>
          <a:spcPct val="0"/>
        </a:spcAft>
        <a:defRPr sz="4217">
          <a:solidFill>
            <a:schemeClr val="tx1"/>
          </a:solidFill>
          <a:latin typeface="Arial Black" panose="020B0A04020102020204" pitchFamily="34" charset="0"/>
        </a:defRPr>
      </a:lvl3pPr>
      <a:lvl4pPr algn="ctr" defTabSz="433852" rtl="0" eaLnBrk="0" fontAlgn="base" hangingPunct="0">
        <a:spcBef>
          <a:spcPct val="0"/>
        </a:spcBef>
        <a:spcAft>
          <a:spcPct val="0"/>
        </a:spcAft>
        <a:defRPr sz="4217">
          <a:solidFill>
            <a:schemeClr val="tx1"/>
          </a:solidFill>
          <a:latin typeface="Arial Black" panose="020B0A04020102020204" pitchFamily="34" charset="0"/>
        </a:defRPr>
      </a:lvl4pPr>
      <a:lvl5pPr algn="ctr" defTabSz="433852" rtl="0" eaLnBrk="0" fontAlgn="base" hangingPunct="0">
        <a:spcBef>
          <a:spcPct val="0"/>
        </a:spcBef>
        <a:spcAft>
          <a:spcPct val="0"/>
        </a:spcAft>
        <a:defRPr sz="4217">
          <a:solidFill>
            <a:schemeClr val="tx1"/>
          </a:solidFill>
          <a:latin typeface="Arial Black" panose="020B0A04020102020204" pitchFamily="34" charset="0"/>
        </a:defRPr>
      </a:lvl5pPr>
      <a:lvl6pPr marL="370769" algn="ctr" defTabSz="433852" rtl="0" fontAlgn="base">
        <a:spcBef>
          <a:spcPct val="0"/>
        </a:spcBef>
        <a:spcAft>
          <a:spcPct val="0"/>
        </a:spcAft>
        <a:defRPr sz="4217">
          <a:solidFill>
            <a:schemeClr val="tx1"/>
          </a:solidFill>
          <a:latin typeface="Arial Black" panose="020B0A04020102020204" pitchFamily="34" charset="0"/>
        </a:defRPr>
      </a:lvl6pPr>
      <a:lvl7pPr marL="741537" algn="ctr" defTabSz="433852" rtl="0" fontAlgn="base">
        <a:spcBef>
          <a:spcPct val="0"/>
        </a:spcBef>
        <a:spcAft>
          <a:spcPct val="0"/>
        </a:spcAft>
        <a:defRPr sz="4217">
          <a:solidFill>
            <a:schemeClr val="tx1"/>
          </a:solidFill>
          <a:latin typeface="Arial Black" panose="020B0A04020102020204" pitchFamily="34" charset="0"/>
        </a:defRPr>
      </a:lvl7pPr>
      <a:lvl8pPr marL="1112308" algn="ctr" defTabSz="433852" rtl="0" fontAlgn="base">
        <a:spcBef>
          <a:spcPct val="0"/>
        </a:spcBef>
        <a:spcAft>
          <a:spcPct val="0"/>
        </a:spcAft>
        <a:defRPr sz="4217">
          <a:solidFill>
            <a:schemeClr val="tx1"/>
          </a:solidFill>
          <a:latin typeface="Arial Black" panose="020B0A04020102020204" pitchFamily="34" charset="0"/>
        </a:defRPr>
      </a:lvl8pPr>
      <a:lvl9pPr marL="1483077" algn="ctr" defTabSz="433852" rtl="0" fontAlgn="base">
        <a:spcBef>
          <a:spcPct val="0"/>
        </a:spcBef>
        <a:spcAft>
          <a:spcPct val="0"/>
        </a:spcAft>
        <a:defRPr sz="4217">
          <a:solidFill>
            <a:schemeClr val="tx1"/>
          </a:solidFill>
          <a:latin typeface="Arial Black" panose="020B0A04020102020204" pitchFamily="34" charset="0"/>
        </a:defRPr>
      </a:lvl9pPr>
    </p:titleStyle>
    <p:bodyStyle>
      <a:lvl1pPr marL="325713" indent="-325713" algn="l" defTabSz="433852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082" kern="1200">
          <a:solidFill>
            <a:schemeClr val="tx1"/>
          </a:solidFill>
          <a:latin typeface="+mn-lt"/>
          <a:ea typeface="+mn-ea"/>
          <a:cs typeface="+mn-cs"/>
        </a:defRPr>
      </a:lvl1pPr>
      <a:lvl2pPr marL="706780" indent="-271640" algn="l" defTabSz="433852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676" kern="1200">
          <a:solidFill>
            <a:schemeClr val="tx1"/>
          </a:solidFill>
          <a:latin typeface="+mn-lt"/>
          <a:ea typeface="+mn-ea"/>
          <a:cs typeface="+mn-cs"/>
        </a:defRPr>
      </a:lvl2pPr>
      <a:lvl3pPr marL="1086560" indent="-216282" algn="l" defTabSz="433852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271" kern="1200">
          <a:solidFill>
            <a:schemeClr val="tx1"/>
          </a:solidFill>
          <a:latin typeface="+mn-lt"/>
          <a:ea typeface="+mn-ea"/>
          <a:cs typeface="+mn-cs"/>
        </a:defRPr>
      </a:lvl3pPr>
      <a:lvl4pPr marL="1521698" indent="-216282" algn="l" defTabSz="433852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865" kern="1200">
          <a:solidFill>
            <a:schemeClr val="tx1"/>
          </a:solidFill>
          <a:latin typeface="+mn-lt"/>
          <a:ea typeface="+mn-ea"/>
          <a:cs typeface="+mn-cs"/>
        </a:defRPr>
      </a:lvl4pPr>
      <a:lvl5pPr marL="1956838" indent="-216282" algn="l" defTabSz="433852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865" kern="1200">
          <a:solidFill>
            <a:schemeClr val="tx1"/>
          </a:solidFill>
          <a:latin typeface="+mn-lt"/>
          <a:ea typeface="+mn-ea"/>
          <a:cs typeface="+mn-cs"/>
        </a:defRPr>
      </a:lvl5pPr>
      <a:lvl6pPr marL="2392629" indent="-217512" algn="l" defTabSz="435024" rtl="0" eaLnBrk="1" latinLnBrk="0" hangingPunct="1">
        <a:spcBef>
          <a:spcPct val="20000"/>
        </a:spcBef>
        <a:buFont typeface="Arial"/>
        <a:buChar char="•"/>
        <a:defRPr sz="1865" kern="1200">
          <a:solidFill>
            <a:schemeClr val="tx1"/>
          </a:solidFill>
          <a:latin typeface="+mn-lt"/>
          <a:ea typeface="+mn-ea"/>
          <a:cs typeface="+mn-cs"/>
        </a:defRPr>
      </a:lvl6pPr>
      <a:lvl7pPr marL="2827653" indent="-217512" algn="l" defTabSz="435024" rtl="0" eaLnBrk="1" latinLnBrk="0" hangingPunct="1">
        <a:spcBef>
          <a:spcPct val="20000"/>
        </a:spcBef>
        <a:buFont typeface="Arial"/>
        <a:buChar char="•"/>
        <a:defRPr sz="1865" kern="1200">
          <a:solidFill>
            <a:schemeClr val="tx1"/>
          </a:solidFill>
          <a:latin typeface="+mn-lt"/>
          <a:ea typeface="+mn-ea"/>
          <a:cs typeface="+mn-cs"/>
        </a:defRPr>
      </a:lvl7pPr>
      <a:lvl8pPr marL="3262676" indent="-217512" algn="l" defTabSz="435024" rtl="0" eaLnBrk="1" latinLnBrk="0" hangingPunct="1">
        <a:spcBef>
          <a:spcPct val="20000"/>
        </a:spcBef>
        <a:buFont typeface="Arial"/>
        <a:buChar char="•"/>
        <a:defRPr sz="1865" kern="1200">
          <a:solidFill>
            <a:schemeClr val="tx1"/>
          </a:solidFill>
          <a:latin typeface="+mn-lt"/>
          <a:ea typeface="+mn-ea"/>
          <a:cs typeface="+mn-cs"/>
        </a:defRPr>
      </a:lvl8pPr>
      <a:lvl9pPr marL="3697701" indent="-217512" algn="l" defTabSz="435024" rtl="0" eaLnBrk="1" latinLnBrk="0" hangingPunct="1">
        <a:spcBef>
          <a:spcPct val="20000"/>
        </a:spcBef>
        <a:buFont typeface="Arial"/>
        <a:buChar char="•"/>
        <a:defRPr sz="186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435024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1pPr>
      <a:lvl2pPr marL="435024" algn="l" defTabSz="435024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2pPr>
      <a:lvl3pPr marL="870048" algn="l" defTabSz="435024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3pPr>
      <a:lvl4pPr marL="1305071" algn="l" defTabSz="435024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40094" algn="l" defTabSz="435024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75117" algn="l" defTabSz="435024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610141" algn="l" defTabSz="435024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3045164" algn="l" defTabSz="435024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480188" algn="l" defTabSz="435024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">
          <p15:clr>
            <a:srgbClr val="F26B43"/>
          </p15:clr>
        </p15:guide>
        <p15:guide id="2" pos="5928">
          <p15:clr>
            <a:srgbClr val="F26B43"/>
          </p15:clr>
        </p15:guide>
        <p15:guide id="3" orient="horz" pos="168">
          <p15:clr>
            <a:srgbClr val="F26B43"/>
          </p15:clr>
        </p15:guide>
        <p15:guide id="4" orient="horz" pos="888">
          <p15:clr>
            <a:srgbClr val="F26B43"/>
          </p15:clr>
        </p15:guide>
        <p15:guide id="5" orient="horz" pos="1008">
          <p15:clr>
            <a:srgbClr val="F26B43"/>
          </p15:clr>
        </p15:guide>
        <p15:guide id="6" orient="horz" pos="3888">
          <p15:clr>
            <a:srgbClr val="F26B43"/>
          </p15:clr>
        </p15:guide>
        <p15:guide id="7" pos="3120">
          <p15:clr>
            <a:srgbClr val="F26B43"/>
          </p15:clr>
        </p15:guide>
        <p15:guide id="8" orient="horz" pos="408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88941830"/>
              </p:ext>
            </p:extLst>
          </p:nvPr>
        </p:nvGraphicFramePr>
        <p:xfrm>
          <a:off x="1588" y="1589"/>
          <a:ext cx="1583" cy="15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5" imgW="473" imgH="473" progId="TCLayout.ActiveDocument.1">
                  <p:embed/>
                </p:oleObj>
              </mc:Choice>
              <mc:Fallback>
                <p:oleObj name="Слайд think-cell" r:id="rId15" imgW="473" imgH="473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3" cy="15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/>
          <p:cNvSpPr/>
          <p:nvPr userDrawn="1"/>
        </p:nvSpPr>
        <p:spPr>
          <a:xfrm>
            <a:off x="-1532567" y="1844914"/>
            <a:ext cx="1402635" cy="649899"/>
          </a:xfrm>
          <a:prstGeom prst="rect">
            <a:avLst/>
          </a:prstGeom>
          <a:solidFill>
            <a:srgbClr val="95C11F"/>
          </a:solidFill>
          <a:ln w="0" cap="flat" cmpd="sng" algn="ctr">
            <a:noFill/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70787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R: </a:t>
            </a:r>
            <a:r>
              <a:rPr lang="ru-RU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149</a:t>
            </a:r>
            <a:endParaRPr lang="en-US" sz="973" b="1" i="0" dirty="0">
              <a:solidFill>
                <a:srgbClr val="FFFFFF"/>
              </a:solidFill>
              <a:latin typeface="Arial" panose="020B0604020202020204" pitchFamily="34" charset="0"/>
            </a:endParaRPr>
          </a:p>
          <a:p>
            <a:pPr algn="l"/>
            <a: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G: </a:t>
            </a:r>
            <a:r>
              <a:rPr lang="ru-RU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193</a:t>
            </a:r>
            <a:b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</a:br>
            <a: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B:</a:t>
            </a:r>
            <a:r>
              <a:rPr lang="en-US" sz="973" b="1" i="0" baseline="0" dirty="0">
                <a:solidFill>
                  <a:srgbClr val="FFFFFF"/>
                </a:solidFill>
                <a:latin typeface="Arial" panose="020B0604020202020204" pitchFamily="34" charset="0"/>
              </a:rPr>
              <a:t> </a:t>
            </a:r>
            <a:r>
              <a:rPr lang="ru-RU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31</a:t>
            </a:r>
            <a:endParaRPr lang="en-US" sz="973" b="1" i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-1532567" y="298900"/>
            <a:ext cx="1402635" cy="649899"/>
          </a:xfrm>
          <a:prstGeom prst="rect">
            <a:avLst/>
          </a:prstGeom>
          <a:solidFill>
            <a:srgbClr val="333333"/>
          </a:solidFill>
          <a:ln w="0" cap="flat" cmpd="sng" algn="ctr">
            <a:noFill/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70787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R: 51</a:t>
            </a:r>
          </a:p>
          <a:p>
            <a:pPr algn="l"/>
            <a: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G: 51</a:t>
            </a:r>
            <a:b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</a:br>
            <a: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B:</a:t>
            </a:r>
            <a:r>
              <a:rPr lang="en-US" sz="973" b="1" i="0" baseline="0" dirty="0">
                <a:solidFill>
                  <a:srgbClr val="FFFFFF"/>
                </a:solidFill>
                <a:latin typeface="Arial" panose="020B0604020202020204" pitchFamily="34" charset="0"/>
              </a:rPr>
              <a:t> 51</a:t>
            </a:r>
            <a:endParaRPr lang="en-US" sz="973" b="1" i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-1532567" y="1071907"/>
            <a:ext cx="1402635" cy="649899"/>
          </a:xfrm>
          <a:prstGeom prst="rect">
            <a:avLst/>
          </a:prstGeom>
          <a:solidFill>
            <a:srgbClr val="717171"/>
          </a:solidFill>
          <a:ln w="0" cap="flat" cmpd="sng" algn="ctr">
            <a:noFill/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70787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R: 113</a:t>
            </a:r>
          </a:p>
          <a:p>
            <a:pPr algn="l"/>
            <a: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G: 113</a:t>
            </a:r>
            <a:b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</a:br>
            <a: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B:</a:t>
            </a:r>
            <a:r>
              <a:rPr lang="en-US" sz="973" b="1" i="0" baseline="0" dirty="0">
                <a:solidFill>
                  <a:srgbClr val="FFFFFF"/>
                </a:solidFill>
                <a:latin typeface="Arial" panose="020B0604020202020204" pitchFamily="34" charset="0"/>
              </a:rPr>
              <a:t> 113</a:t>
            </a:r>
            <a:endParaRPr lang="en-US" sz="973" b="1" i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-1532567" y="3390925"/>
            <a:ext cx="1402635" cy="649899"/>
          </a:xfrm>
          <a:prstGeom prst="rect">
            <a:avLst/>
          </a:prstGeom>
          <a:solidFill>
            <a:schemeClr val="accent3"/>
          </a:solidFill>
          <a:ln w="0" cap="flat" cmpd="sng" algn="ctr">
            <a:noFill/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70787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R: 2</a:t>
            </a:r>
            <a:r>
              <a:rPr lang="ru-RU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55</a:t>
            </a:r>
            <a:endParaRPr lang="en-US" sz="973" b="1" i="0" dirty="0">
              <a:solidFill>
                <a:srgbClr val="FFFFFF"/>
              </a:solidFill>
              <a:latin typeface="Arial" panose="020B0604020202020204" pitchFamily="34" charset="0"/>
            </a:endParaRPr>
          </a:p>
          <a:p>
            <a:pPr algn="l"/>
            <a: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G: </a:t>
            </a:r>
            <a:r>
              <a:rPr lang="ru-RU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153</a:t>
            </a:r>
            <a:b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</a:br>
            <a: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B:</a:t>
            </a:r>
            <a:r>
              <a:rPr lang="en-US" sz="973" b="1" i="0" baseline="0" dirty="0">
                <a:solidFill>
                  <a:srgbClr val="FFFFFF"/>
                </a:solidFill>
                <a:latin typeface="Arial" panose="020B0604020202020204" pitchFamily="34" charset="0"/>
              </a:rPr>
              <a:t> </a:t>
            </a:r>
            <a:r>
              <a:rPr lang="ru-RU" sz="973" b="1" i="0" baseline="0" dirty="0">
                <a:solidFill>
                  <a:srgbClr val="FFFFFF"/>
                </a:solidFill>
                <a:latin typeface="Arial" panose="020B0604020202020204" pitchFamily="34" charset="0"/>
              </a:rPr>
              <a:t>102</a:t>
            </a:r>
            <a:endParaRPr lang="en-US" sz="973" b="1" i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-1532567" y="4163934"/>
            <a:ext cx="1402635" cy="649899"/>
          </a:xfrm>
          <a:prstGeom prst="rect">
            <a:avLst/>
          </a:prstGeom>
          <a:solidFill>
            <a:schemeClr val="accent4"/>
          </a:solidFill>
          <a:ln w="0" cap="flat" cmpd="sng" algn="ctr">
            <a:noFill/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70787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R: </a:t>
            </a:r>
            <a:r>
              <a:rPr lang="ru-RU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177</a:t>
            </a:r>
            <a:endParaRPr lang="en-US" sz="973" b="1" i="0" dirty="0">
              <a:solidFill>
                <a:srgbClr val="FFFFFF"/>
              </a:solidFill>
              <a:latin typeface="Arial" panose="020B0604020202020204" pitchFamily="34" charset="0"/>
            </a:endParaRPr>
          </a:p>
          <a:p>
            <a:pPr algn="l"/>
            <a: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G: </a:t>
            </a:r>
            <a:r>
              <a:rPr lang="ru-RU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86</a:t>
            </a:r>
            <a:b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</a:br>
            <a: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B:</a:t>
            </a:r>
            <a:r>
              <a:rPr lang="en-US" sz="973" b="1" i="0" baseline="0" dirty="0">
                <a:solidFill>
                  <a:srgbClr val="FFFFFF"/>
                </a:solidFill>
                <a:latin typeface="Arial" panose="020B0604020202020204" pitchFamily="34" charset="0"/>
              </a:rPr>
              <a:t> </a:t>
            </a:r>
            <a:r>
              <a:rPr lang="ru-RU" sz="973" b="1" i="0" baseline="0" dirty="0">
                <a:solidFill>
                  <a:srgbClr val="FFFFFF"/>
                </a:solidFill>
                <a:latin typeface="Arial" panose="020B0604020202020204" pitchFamily="34" charset="0"/>
              </a:rPr>
              <a:t>97</a:t>
            </a:r>
            <a:endParaRPr lang="en-US" sz="973" b="1" i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-1532567" y="4936941"/>
            <a:ext cx="1402635" cy="649899"/>
          </a:xfrm>
          <a:prstGeom prst="rect">
            <a:avLst/>
          </a:prstGeom>
          <a:solidFill>
            <a:schemeClr val="accent5"/>
          </a:solidFill>
          <a:ln w="0" cap="flat" cmpd="sng" algn="ctr">
            <a:noFill/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70787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R: </a:t>
            </a:r>
            <a:r>
              <a:rPr lang="ru-RU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202</a:t>
            </a:r>
            <a:endParaRPr lang="en-US" sz="973" b="1" i="0" dirty="0">
              <a:solidFill>
                <a:srgbClr val="FFFFFF"/>
              </a:solidFill>
              <a:latin typeface="Arial" panose="020B0604020202020204" pitchFamily="34" charset="0"/>
            </a:endParaRPr>
          </a:p>
          <a:p>
            <a:pPr algn="l"/>
            <a: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G: </a:t>
            </a:r>
            <a:r>
              <a:rPr lang="ru-RU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202</a:t>
            </a:r>
            <a:b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</a:br>
            <a: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B:</a:t>
            </a:r>
            <a:r>
              <a:rPr lang="en-US" sz="973" b="1" i="0" baseline="0" dirty="0">
                <a:solidFill>
                  <a:srgbClr val="FFFFFF"/>
                </a:solidFill>
                <a:latin typeface="Arial" panose="020B0604020202020204" pitchFamily="34" charset="0"/>
              </a:rPr>
              <a:t> </a:t>
            </a:r>
            <a:r>
              <a:rPr lang="ru-RU" sz="973" b="1" i="0" baseline="0" dirty="0">
                <a:solidFill>
                  <a:srgbClr val="FFFFFF"/>
                </a:solidFill>
                <a:latin typeface="Arial" panose="020B0604020202020204" pitchFamily="34" charset="0"/>
              </a:rPr>
              <a:t>202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-1532567" y="2617921"/>
            <a:ext cx="1402635" cy="649899"/>
          </a:xfrm>
          <a:prstGeom prst="rect">
            <a:avLst/>
          </a:prstGeom>
          <a:solidFill>
            <a:srgbClr val="395175"/>
          </a:solidFill>
          <a:ln w="0" cap="flat" cmpd="sng" algn="ctr">
            <a:noFill/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70787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R: 5</a:t>
            </a:r>
            <a:r>
              <a:rPr lang="ru-RU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7</a:t>
            </a:r>
            <a:endParaRPr lang="en-US" sz="973" b="1" i="0" dirty="0">
              <a:solidFill>
                <a:srgbClr val="FFFFFF"/>
              </a:solidFill>
              <a:latin typeface="Arial" panose="020B0604020202020204" pitchFamily="34" charset="0"/>
            </a:endParaRPr>
          </a:p>
          <a:p>
            <a:pPr algn="l"/>
            <a: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G: </a:t>
            </a:r>
            <a:r>
              <a:rPr lang="ru-RU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8</a:t>
            </a:r>
            <a: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1</a:t>
            </a:r>
            <a:b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</a:br>
            <a: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B:</a:t>
            </a:r>
            <a:r>
              <a:rPr lang="en-US" sz="973" b="1" i="0" baseline="0" dirty="0">
                <a:solidFill>
                  <a:srgbClr val="FFFFFF"/>
                </a:solidFill>
                <a:latin typeface="Arial" panose="020B0604020202020204" pitchFamily="34" charset="0"/>
              </a:rPr>
              <a:t> </a:t>
            </a:r>
            <a:r>
              <a:rPr lang="ru-RU" sz="973" b="1" i="0" baseline="0" dirty="0">
                <a:solidFill>
                  <a:srgbClr val="FFFFFF"/>
                </a:solidFill>
                <a:latin typeface="Arial" panose="020B0604020202020204" pitchFamily="34" charset="0"/>
              </a:rPr>
              <a:t>1</a:t>
            </a:r>
            <a:r>
              <a:rPr lang="en-US" sz="973" b="1" i="0" baseline="0" dirty="0">
                <a:solidFill>
                  <a:srgbClr val="FFFFFF"/>
                </a:solidFill>
                <a:latin typeface="Arial" panose="020B0604020202020204" pitchFamily="34" charset="0"/>
              </a:rPr>
              <a:t>1</a:t>
            </a:r>
            <a:r>
              <a:rPr lang="ru-RU" sz="973" b="1" i="0" baseline="0" dirty="0">
                <a:solidFill>
                  <a:srgbClr val="FFFFFF"/>
                </a:solidFill>
                <a:latin typeface="Arial" panose="020B0604020202020204" pitchFamily="34" charset="0"/>
              </a:rPr>
              <a:t>7</a:t>
            </a:r>
            <a:endParaRPr lang="en-US" sz="973" b="1" i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1" name="Rectangle 30"/>
          <p:cNvSpPr/>
          <p:nvPr userDrawn="1"/>
        </p:nvSpPr>
        <p:spPr>
          <a:xfrm>
            <a:off x="-1532567" y="5709945"/>
            <a:ext cx="1402635" cy="649899"/>
          </a:xfrm>
          <a:prstGeom prst="rect">
            <a:avLst/>
          </a:prstGeom>
          <a:solidFill>
            <a:schemeClr val="accent6"/>
          </a:solidFill>
          <a:ln w="0" cap="flat" cmpd="sng" algn="ctr">
            <a:noFill/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70787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R: </a:t>
            </a:r>
            <a:r>
              <a:rPr lang="ru-RU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255</a:t>
            </a:r>
            <a:endParaRPr lang="en-US" sz="973" b="1" i="0" dirty="0">
              <a:solidFill>
                <a:srgbClr val="FFFFFF"/>
              </a:solidFill>
              <a:latin typeface="Arial" panose="020B0604020202020204" pitchFamily="34" charset="0"/>
            </a:endParaRPr>
          </a:p>
          <a:p>
            <a:pPr algn="l"/>
            <a: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G: </a:t>
            </a:r>
            <a:r>
              <a:rPr lang="ru-RU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153</a:t>
            </a:r>
            <a:b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</a:br>
            <a:r>
              <a:rPr lang="en-US" sz="973" b="1" i="0" dirty="0">
                <a:solidFill>
                  <a:srgbClr val="FFFFFF"/>
                </a:solidFill>
                <a:latin typeface="Arial" panose="020B0604020202020204" pitchFamily="34" charset="0"/>
              </a:rPr>
              <a:t>B:</a:t>
            </a:r>
            <a:r>
              <a:rPr lang="en-US" sz="973" b="1" i="0" baseline="0" dirty="0">
                <a:solidFill>
                  <a:srgbClr val="FFFFFF"/>
                </a:solidFill>
                <a:latin typeface="Arial" panose="020B0604020202020204" pitchFamily="34" charset="0"/>
              </a:rPr>
              <a:t> </a:t>
            </a:r>
            <a:r>
              <a:rPr lang="ru-RU" sz="973" b="1" i="0" baseline="0" dirty="0">
                <a:solidFill>
                  <a:srgbClr val="FFFFFF"/>
                </a:solidFill>
                <a:latin typeface="Arial" panose="020B0604020202020204" pitchFamily="34" charset="0"/>
              </a:rPr>
              <a:t>153</a:t>
            </a:r>
          </a:p>
        </p:txBody>
      </p:sp>
    </p:spTree>
    <p:extLst>
      <p:ext uri="{BB962C8B-B14F-4D97-AF65-F5344CB8AC3E}">
        <p14:creationId xmlns:p14="http://schemas.microsoft.com/office/powerpoint/2010/main" val="3208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3827" r:id="rId2"/>
    <p:sldLayoutId id="2147483828" r:id="rId3"/>
    <p:sldLayoutId id="2147483829" r:id="rId4"/>
    <p:sldLayoutId id="2147483830" r:id="rId5"/>
    <p:sldLayoutId id="2147483831" r:id="rId6"/>
    <p:sldLayoutId id="2147483832" r:id="rId7"/>
    <p:sldLayoutId id="2147483833" r:id="rId8"/>
    <p:sldLayoutId id="2147483834" r:id="rId9"/>
    <p:sldLayoutId id="2147483835" r:id="rId10"/>
    <p:sldLayoutId id="2147483836" r:id="rId11"/>
    <p:sldLayoutId id="2147483837" r:id="rId12"/>
  </p:sldLayoutIdLst>
  <p:hf hdr="0" ftr="0" dt="0"/>
  <p:txStyles>
    <p:titleStyle>
      <a:lvl1pPr algn="ctr" defTabSz="433852" rtl="0" eaLnBrk="0" fontAlgn="base" hangingPunct="0">
        <a:spcBef>
          <a:spcPct val="0"/>
        </a:spcBef>
        <a:spcAft>
          <a:spcPct val="0"/>
        </a:spcAft>
        <a:defRPr sz="4217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33852" rtl="0" eaLnBrk="0" fontAlgn="base" hangingPunct="0">
        <a:spcBef>
          <a:spcPct val="0"/>
        </a:spcBef>
        <a:spcAft>
          <a:spcPct val="0"/>
        </a:spcAft>
        <a:defRPr sz="4217">
          <a:solidFill>
            <a:schemeClr val="tx1"/>
          </a:solidFill>
          <a:latin typeface="Arial Black" panose="020B0A04020102020204" pitchFamily="34" charset="0"/>
        </a:defRPr>
      </a:lvl2pPr>
      <a:lvl3pPr algn="ctr" defTabSz="433852" rtl="0" eaLnBrk="0" fontAlgn="base" hangingPunct="0">
        <a:spcBef>
          <a:spcPct val="0"/>
        </a:spcBef>
        <a:spcAft>
          <a:spcPct val="0"/>
        </a:spcAft>
        <a:defRPr sz="4217">
          <a:solidFill>
            <a:schemeClr val="tx1"/>
          </a:solidFill>
          <a:latin typeface="Arial Black" panose="020B0A04020102020204" pitchFamily="34" charset="0"/>
        </a:defRPr>
      </a:lvl3pPr>
      <a:lvl4pPr algn="ctr" defTabSz="433852" rtl="0" eaLnBrk="0" fontAlgn="base" hangingPunct="0">
        <a:spcBef>
          <a:spcPct val="0"/>
        </a:spcBef>
        <a:spcAft>
          <a:spcPct val="0"/>
        </a:spcAft>
        <a:defRPr sz="4217">
          <a:solidFill>
            <a:schemeClr val="tx1"/>
          </a:solidFill>
          <a:latin typeface="Arial Black" panose="020B0A04020102020204" pitchFamily="34" charset="0"/>
        </a:defRPr>
      </a:lvl4pPr>
      <a:lvl5pPr algn="ctr" defTabSz="433852" rtl="0" eaLnBrk="0" fontAlgn="base" hangingPunct="0">
        <a:spcBef>
          <a:spcPct val="0"/>
        </a:spcBef>
        <a:spcAft>
          <a:spcPct val="0"/>
        </a:spcAft>
        <a:defRPr sz="4217">
          <a:solidFill>
            <a:schemeClr val="tx1"/>
          </a:solidFill>
          <a:latin typeface="Arial Black" panose="020B0A04020102020204" pitchFamily="34" charset="0"/>
        </a:defRPr>
      </a:lvl5pPr>
      <a:lvl6pPr marL="370769" algn="ctr" defTabSz="433852" rtl="0" fontAlgn="base">
        <a:spcBef>
          <a:spcPct val="0"/>
        </a:spcBef>
        <a:spcAft>
          <a:spcPct val="0"/>
        </a:spcAft>
        <a:defRPr sz="4217">
          <a:solidFill>
            <a:schemeClr val="tx1"/>
          </a:solidFill>
          <a:latin typeface="Arial Black" panose="020B0A04020102020204" pitchFamily="34" charset="0"/>
        </a:defRPr>
      </a:lvl6pPr>
      <a:lvl7pPr marL="741537" algn="ctr" defTabSz="433852" rtl="0" fontAlgn="base">
        <a:spcBef>
          <a:spcPct val="0"/>
        </a:spcBef>
        <a:spcAft>
          <a:spcPct val="0"/>
        </a:spcAft>
        <a:defRPr sz="4217">
          <a:solidFill>
            <a:schemeClr val="tx1"/>
          </a:solidFill>
          <a:latin typeface="Arial Black" panose="020B0A04020102020204" pitchFamily="34" charset="0"/>
        </a:defRPr>
      </a:lvl7pPr>
      <a:lvl8pPr marL="1112308" algn="ctr" defTabSz="433852" rtl="0" fontAlgn="base">
        <a:spcBef>
          <a:spcPct val="0"/>
        </a:spcBef>
        <a:spcAft>
          <a:spcPct val="0"/>
        </a:spcAft>
        <a:defRPr sz="4217">
          <a:solidFill>
            <a:schemeClr val="tx1"/>
          </a:solidFill>
          <a:latin typeface="Arial Black" panose="020B0A04020102020204" pitchFamily="34" charset="0"/>
        </a:defRPr>
      </a:lvl8pPr>
      <a:lvl9pPr marL="1483077" algn="ctr" defTabSz="433852" rtl="0" fontAlgn="base">
        <a:spcBef>
          <a:spcPct val="0"/>
        </a:spcBef>
        <a:spcAft>
          <a:spcPct val="0"/>
        </a:spcAft>
        <a:defRPr sz="4217">
          <a:solidFill>
            <a:schemeClr val="tx1"/>
          </a:solidFill>
          <a:latin typeface="Arial Black" panose="020B0A04020102020204" pitchFamily="34" charset="0"/>
        </a:defRPr>
      </a:lvl9pPr>
    </p:titleStyle>
    <p:bodyStyle>
      <a:lvl1pPr marL="325713" indent="-325713" algn="l" defTabSz="433852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082" kern="1200">
          <a:solidFill>
            <a:schemeClr val="tx1"/>
          </a:solidFill>
          <a:latin typeface="+mn-lt"/>
          <a:ea typeface="+mn-ea"/>
          <a:cs typeface="+mn-cs"/>
        </a:defRPr>
      </a:lvl1pPr>
      <a:lvl2pPr marL="706780" indent="-271640" algn="l" defTabSz="433852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676" kern="1200">
          <a:solidFill>
            <a:schemeClr val="tx1"/>
          </a:solidFill>
          <a:latin typeface="+mn-lt"/>
          <a:ea typeface="+mn-ea"/>
          <a:cs typeface="+mn-cs"/>
        </a:defRPr>
      </a:lvl2pPr>
      <a:lvl3pPr marL="1086560" indent="-216282" algn="l" defTabSz="433852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271" kern="1200">
          <a:solidFill>
            <a:schemeClr val="tx1"/>
          </a:solidFill>
          <a:latin typeface="+mn-lt"/>
          <a:ea typeface="+mn-ea"/>
          <a:cs typeface="+mn-cs"/>
        </a:defRPr>
      </a:lvl3pPr>
      <a:lvl4pPr marL="1521698" indent="-216282" algn="l" defTabSz="433852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865" kern="1200">
          <a:solidFill>
            <a:schemeClr val="tx1"/>
          </a:solidFill>
          <a:latin typeface="+mn-lt"/>
          <a:ea typeface="+mn-ea"/>
          <a:cs typeface="+mn-cs"/>
        </a:defRPr>
      </a:lvl4pPr>
      <a:lvl5pPr marL="1956838" indent="-216282" algn="l" defTabSz="433852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865" kern="1200">
          <a:solidFill>
            <a:schemeClr val="tx1"/>
          </a:solidFill>
          <a:latin typeface="+mn-lt"/>
          <a:ea typeface="+mn-ea"/>
          <a:cs typeface="+mn-cs"/>
        </a:defRPr>
      </a:lvl5pPr>
      <a:lvl6pPr marL="2392629" indent="-217512" algn="l" defTabSz="435024" rtl="0" eaLnBrk="1" latinLnBrk="0" hangingPunct="1">
        <a:spcBef>
          <a:spcPct val="20000"/>
        </a:spcBef>
        <a:buFont typeface="Arial"/>
        <a:buChar char="•"/>
        <a:defRPr sz="1865" kern="1200">
          <a:solidFill>
            <a:schemeClr val="tx1"/>
          </a:solidFill>
          <a:latin typeface="+mn-lt"/>
          <a:ea typeface="+mn-ea"/>
          <a:cs typeface="+mn-cs"/>
        </a:defRPr>
      </a:lvl6pPr>
      <a:lvl7pPr marL="2827653" indent="-217512" algn="l" defTabSz="435024" rtl="0" eaLnBrk="1" latinLnBrk="0" hangingPunct="1">
        <a:spcBef>
          <a:spcPct val="20000"/>
        </a:spcBef>
        <a:buFont typeface="Arial"/>
        <a:buChar char="•"/>
        <a:defRPr sz="1865" kern="1200">
          <a:solidFill>
            <a:schemeClr val="tx1"/>
          </a:solidFill>
          <a:latin typeface="+mn-lt"/>
          <a:ea typeface="+mn-ea"/>
          <a:cs typeface="+mn-cs"/>
        </a:defRPr>
      </a:lvl7pPr>
      <a:lvl8pPr marL="3262676" indent="-217512" algn="l" defTabSz="435024" rtl="0" eaLnBrk="1" latinLnBrk="0" hangingPunct="1">
        <a:spcBef>
          <a:spcPct val="20000"/>
        </a:spcBef>
        <a:buFont typeface="Arial"/>
        <a:buChar char="•"/>
        <a:defRPr sz="1865" kern="1200">
          <a:solidFill>
            <a:schemeClr val="tx1"/>
          </a:solidFill>
          <a:latin typeface="+mn-lt"/>
          <a:ea typeface="+mn-ea"/>
          <a:cs typeface="+mn-cs"/>
        </a:defRPr>
      </a:lvl8pPr>
      <a:lvl9pPr marL="3697701" indent="-217512" algn="l" defTabSz="435024" rtl="0" eaLnBrk="1" latinLnBrk="0" hangingPunct="1">
        <a:spcBef>
          <a:spcPct val="20000"/>
        </a:spcBef>
        <a:buFont typeface="Arial"/>
        <a:buChar char="•"/>
        <a:defRPr sz="186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435024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1pPr>
      <a:lvl2pPr marL="435024" algn="l" defTabSz="435024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2pPr>
      <a:lvl3pPr marL="870048" algn="l" defTabSz="435024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3pPr>
      <a:lvl4pPr marL="1305071" algn="l" defTabSz="435024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40094" algn="l" defTabSz="435024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75117" algn="l" defTabSz="435024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610141" algn="l" defTabSz="435024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3045164" algn="l" defTabSz="435024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480188" algn="l" defTabSz="435024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">
          <p15:clr>
            <a:srgbClr val="F26B43"/>
          </p15:clr>
        </p15:guide>
        <p15:guide id="2" pos="5928">
          <p15:clr>
            <a:srgbClr val="F26B43"/>
          </p15:clr>
        </p15:guide>
        <p15:guide id="3" orient="horz" pos="168">
          <p15:clr>
            <a:srgbClr val="F26B43"/>
          </p15:clr>
        </p15:guide>
        <p15:guide id="4" orient="horz" pos="888">
          <p15:clr>
            <a:srgbClr val="F26B43"/>
          </p15:clr>
        </p15:guide>
        <p15:guide id="5" orient="horz" pos="1008">
          <p15:clr>
            <a:srgbClr val="F26B43"/>
          </p15:clr>
        </p15:guide>
        <p15:guide id="6" orient="horz" pos="3888">
          <p15:clr>
            <a:srgbClr val="F26B43"/>
          </p15:clr>
        </p15:guide>
        <p15:guide id="7" pos="3120">
          <p15:clr>
            <a:srgbClr val="F26B43"/>
          </p15:clr>
        </p15:guide>
        <p15:guide id="8" orient="horz" pos="408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816784" y="438603"/>
            <a:ext cx="8539381" cy="4038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950" b="1" i="0">
                <a:solidFill>
                  <a:srgbClr val="151616"/>
                </a:solidFill>
                <a:latin typeface="Myriad Pro"/>
                <a:cs typeface="Myriad Pro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2240801" y="1414389"/>
            <a:ext cx="7691346" cy="14224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1000" b="1" i="0">
                <a:solidFill>
                  <a:srgbClr val="9C2B8B"/>
                </a:solidFill>
                <a:latin typeface="Myriad Arabic"/>
                <a:cs typeface="Myriad Arabic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38803" y="6366129"/>
            <a:ext cx="3895343" cy="3422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8647" y="6366129"/>
            <a:ext cx="2799778" cy="3422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3/2020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64524" y="6366129"/>
            <a:ext cx="2799778" cy="3422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505675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2" r:id="rId1"/>
    <p:sldLayoutId id="2147483853" r:id="rId2"/>
    <p:sldLayoutId id="2147483854" r:id="rId3"/>
    <p:sldLayoutId id="2147483855" r:id="rId4"/>
    <p:sldLayoutId id="2147483856" r:id="rId5"/>
    <p:sldLayoutId id="2147483857" r:id="rId6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13" Type="http://schemas.openxmlformats.org/officeDocument/2006/relationships/image" Target="../media/image18.png"/><Relationship Id="rId18" Type="http://schemas.openxmlformats.org/officeDocument/2006/relationships/image" Target="../media/image23.png"/><Relationship Id="rId3" Type="http://schemas.openxmlformats.org/officeDocument/2006/relationships/image" Target="../media/image8.jpeg"/><Relationship Id="rId7" Type="http://schemas.openxmlformats.org/officeDocument/2006/relationships/image" Target="../media/image12.jpeg"/><Relationship Id="rId12" Type="http://schemas.openxmlformats.org/officeDocument/2006/relationships/image" Target="../media/image17.jpeg"/><Relationship Id="rId17" Type="http://schemas.openxmlformats.org/officeDocument/2006/relationships/image" Target="../media/image22.png"/><Relationship Id="rId2" Type="http://schemas.openxmlformats.org/officeDocument/2006/relationships/image" Target="../media/image7.jpeg"/><Relationship Id="rId16" Type="http://schemas.openxmlformats.org/officeDocument/2006/relationships/image" Target="../media/image21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1.jpeg"/><Relationship Id="rId11" Type="http://schemas.openxmlformats.org/officeDocument/2006/relationships/image" Target="../media/image16.jpeg"/><Relationship Id="rId5" Type="http://schemas.openxmlformats.org/officeDocument/2006/relationships/image" Target="../media/image10.jpeg"/><Relationship Id="rId15" Type="http://schemas.openxmlformats.org/officeDocument/2006/relationships/image" Target="../media/image20.jpeg"/><Relationship Id="rId10" Type="http://schemas.openxmlformats.org/officeDocument/2006/relationships/image" Target="../media/image15.jpeg"/><Relationship Id="rId4" Type="http://schemas.openxmlformats.org/officeDocument/2006/relationships/image" Target="../media/image9.jpeg"/><Relationship Id="rId9" Type="http://schemas.openxmlformats.org/officeDocument/2006/relationships/image" Target="../media/image14.jpeg"/><Relationship Id="rId14" Type="http://schemas.openxmlformats.org/officeDocument/2006/relationships/image" Target="../media/image19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5.xml"/><Relationship Id="rId4" Type="http://schemas.openxmlformats.org/officeDocument/2006/relationships/image" Target="../media/image4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3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13" Type="http://schemas.openxmlformats.org/officeDocument/2006/relationships/image" Target="../media/image64.png"/><Relationship Id="rId18" Type="http://schemas.openxmlformats.org/officeDocument/2006/relationships/image" Target="../media/image69.png"/><Relationship Id="rId26" Type="http://schemas.openxmlformats.org/officeDocument/2006/relationships/image" Target="../media/image77.png"/><Relationship Id="rId3" Type="http://schemas.openxmlformats.org/officeDocument/2006/relationships/image" Target="../media/image54.png"/><Relationship Id="rId21" Type="http://schemas.openxmlformats.org/officeDocument/2006/relationships/image" Target="../media/image72.jpeg"/><Relationship Id="rId7" Type="http://schemas.openxmlformats.org/officeDocument/2006/relationships/image" Target="../media/image58.png"/><Relationship Id="rId12" Type="http://schemas.openxmlformats.org/officeDocument/2006/relationships/image" Target="../media/image63.png"/><Relationship Id="rId17" Type="http://schemas.openxmlformats.org/officeDocument/2006/relationships/image" Target="../media/image68.png"/><Relationship Id="rId25" Type="http://schemas.openxmlformats.org/officeDocument/2006/relationships/image" Target="../media/image76.jpeg"/><Relationship Id="rId2" Type="http://schemas.openxmlformats.org/officeDocument/2006/relationships/image" Target="../media/image53.png"/><Relationship Id="rId16" Type="http://schemas.openxmlformats.org/officeDocument/2006/relationships/image" Target="../media/image67.png"/><Relationship Id="rId20" Type="http://schemas.openxmlformats.org/officeDocument/2006/relationships/image" Target="../media/image71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7.png"/><Relationship Id="rId11" Type="http://schemas.openxmlformats.org/officeDocument/2006/relationships/image" Target="../media/image62.png"/><Relationship Id="rId24" Type="http://schemas.openxmlformats.org/officeDocument/2006/relationships/image" Target="../media/image75.jpeg"/><Relationship Id="rId5" Type="http://schemas.openxmlformats.org/officeDocument/2006/relationships/image" Target="../media/image56.png"/><Relationship Id="rId15" Type="http://schemas.openxmlformats.org/officeDocument/2006/relationships/image" Target="../media/image66.png"/><Relationship Id="rId23" Type="http://schemas.openxmlformats.org/officeDocument/2006/relationships/image" Target="../media/image74.jpeg"/><Relationship Id="rId28" Type="http://schemas.openxmlformats.org/officeDocument/2006/relationships/image" Target="../media/image79.jpeg"/><Relationship Id="rId10" Type="http://schemas.openxmlformats.org/officeDocument/2006/relationships/image" Target="../media/image61.png"/><Relationship Id="rId19" Type="http://schemas.openxmlformats.org/officeDocument/2006/relationships/image" Target="../media/image70.png"/><Relationship Id="rId4" Type="http://schemas.openxmlformats.org/officeDocument/2006/relationships/image" Target="../media/image55.png"/><Relationship Id="rId9" Type="http://schemas.openxmlformats.org/officeDocument/2006/relationships/image" Target="../media/image60.png"/><Relationship Id="rId14" Type="http://schemas.openxmlformats.org/officeDocument/2006/relationships/image" Target="../media/image65.png"/><Relationship Id="rId22" Type="http://schemas.openxmlformats.org/officeDocument/2006/relationships/image" Target="../media/image73.jpeg"/><Relationship Id="rId27" Type="http://schemas.openxmlformats.org/officeDocument/2006/relationships/image" Target="../media/image78.jpe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png"/><Relationship Id="rId3" Type="http://schemas.openxmlformats.org/officeDocument/2006/relationships/slideLayout" Target="../slideLayouts/slideLayout44.xml"/><Relationship Id="rId7" Type="http://schemas.openxmlformats.org/officeDocument/2006/relationships/image" Target="../media/image83.jpe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82.png"/><Relationship Id="rId5" Type="http://schemas.openxmlformats.org/officeDocument/2006/relationships/image" Target="../media/image81.emf"/><Relationship Id="rId4" Type="http://schemas.openxmlformats.org/officeDocument/2006/relationships/oleObject" Target="../embeddings/oleObject13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6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85.png"/><Relationship Id="rId5" Type="http://schemas.openxmlformats.org/officeDocument/2006/relationships/image" Target="../media/image81.emf"/><Relationship Id="rId4" Type="http://schemas.openxmlformats.org/officeDocument/2006/relationships/oleObject" Target="../embeddings/oleObject14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oleObject" Target="../embeddings/oleObject12.bin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5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89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fiop.site/litsa-nanoindustrii/volkova-av/" TargetMode="External"/><Relationship Id="rId2" Type="http://schemas.openxmlformats.org/officeDocument/2006/relationships/hyperlink" Target="mailto:Angelina.Volkova@rusnano.com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0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7.png"/><Relationship Id="rId7" Type="http://schemas.openxmlformats.org/officeDocument/2006/relationships/image" Target="../media/image30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8.xml"/><Relationship Id="rId6" Type="http://schemas.microsoft.com/office/2007/relationships/hdphoto" Target="../media/hdphoto1.wdp"/><Relationship Id="rId11" Type="http://schemas.openxmlformats.org/officeDocument/2006/relationships/hyperlink" Target="https://spknano.ru/" TargetMode="External"/><Relationship Id="rId5" Type="http://schemas.openxmlformats.org/officeDocument/2006/relationships/image" Target="../media/image29.png"/><Relationship Id="rId10" Type="http://schemas.openxmlformats.org/officeDocument/2006/relationships/hyperlink" Target="https://nok-nark.ru/" TargetMode="External"/><Relationship Id="rId4" Type="http://schemas.openxmlformats.org/officeDocument/2006/relationships/image" Target="../media/image28.png"/><Relationship Id="rId9" Type="http://schemas.openxmlformats.org/officeDocument/2006/relationships/image" Target="../media/image3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6.png"/><Relationship Id="rId5" Type="http://schemas.openxmlformats.org/officeDocument/2006/relationships/image" Target="../media/image35.jpg"/><Relationship Id="rId4" Type="http://schemas.openxmlformats.org/officeDocument/2006/relationships/image" Target="../media/image34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3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g"/><Relationship Id="rId1" Type="http://schemas.openxmlformats.org/officeDocument/2006/relationships/slideLayout" Target="../slideLayouts/slideLayout3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058" name="Picture 4" descr="C:\Users\Angelina.Volkova\Desktop\Фото\Конференция 13.05.16\IMG_6172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068956" y="2529165"/>
            <a:ext cx="1569935" cy="10915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059" name="Picture 5" descr="C:\Users\Angelina.Volkova\Desktop\Фото\Конференция 13.05.16\IMG_6729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105689" y="3620100"/>
            <a:ext cx="1501815" cy="1246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061" name="Picture 8" descr="C:\Users\Angelina.Volkova\Desktop\Фото\Конференция 13.05.16\IMG_6910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32806" y="3934448"/>
            <a:ext cx="1571519" cy="10487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062" name="Picture 9" descr="C:\Users\Angelina.Volkova\Desktop\Фото\Конференция 13.05.16\IMG_6962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07322" y="1261812"/>
            <a:ext cx="2029351" cy="13560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063" name="Picture 10" descr="C:\Users\Angelina.Volkova\Desktop\Фото\Конференция 13.05.16\IMG_6990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97829" y="2704851"/>
            <a:ext cx="1571519" cy="10915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064" name="Picture 13" descr="C:\Users\Angelina.Volkova\Desktop\Фото\Конференция 13.05.16\IMG_6685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864129" y="2569548"/>
            <a:ext cx="1685581" cy="112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065" name="Picture 14" descr="C:\Users\Angelina.Volkova\Desktop\Фото\Конференция 13.05.16\IMG_6702.jp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2420108" y="1256744"/>
            <a:ext cx="1685581" cy="11263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066" name="Picture 4" descr="C:\Users\Angelina.Volkova\Desktop\Фото\2017\Иннофорум 21-22.09.2017\фото\FB_IMG_1506019377827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512088" y="5093152"/>
            <a:ext cx="2341043" cy="155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067" name="Picture 6" descr="C:\Users\ANGELI~1.VOL\AppData\Local\Temp\7zO08F4B724\20170920_101747.jp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8800468" y="2980932"/>
            <a:ext cx="3252071" cy="23596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070" name="Picture 2" descr="Фото Анжелики Волковой.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2010341" y="3672953"/>
            <a:ext cx="1685581" cy="12641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072" name="Picture 2" descr="C:\Users\Angelina.Volkova\Desktop\Фото\2017\СПК 14.06.2017\DSC_0014.JPG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9951774" y="5596006"/>
            <a:ext cx="1882021" cy="11390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073" name="Picture 11"/>
          <p:cNvPicPr>
            <a:picLocks noChangeAspect="1" noChangeArrowheads="1"/>
          </p:cNvPicPr>
          <p:nvPr/>
        </p:nvPicPr>
        <p:blipFill>
          <a:blip r:embed="rId13"/>
          <a:srcRect t="25000" b="4688"/>
          <a:stretch>
            <a:fillRect/>
          </a:stretch>
        </p:blipFill>
        <p:spPr bwMode="auto">
          <a:xfrm>
            <a:off x="3147792" y="5029021"/>
            <a:ext cx="3344230" cy="16491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074" name="Рисунок 4"/>
          <p:cNvPicPr>
            <a:picLocks noChangeAspect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6700955" y="5296073"/>
            <a:ext cx="2102224" cy="14020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33D39741-0997-4EC7-8692-D6470C1D5F5C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628" y="167133"/>
            <a:ext cx="5053094" cy="814699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FAAC41AC-7E61-4A77-A46C-F1639B5E0CA2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815827" y="2831747"/>
            <a:ext cx="2775491" cy="1891850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3292649C-5E54-488B-B1B2-41489B224C94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712779" y="817101"/>
            <a:ext cx="2638486" cy="1754696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F551DEB0-AC74-4128-B38B-3F7C49B4DC29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9090481" y="807404"/>
            <a:ext cx="2775491" cy="1849780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object 113"/>
          <p:cNvSpPr txBox="1"/>
          <p:nvPr/>
        </p:nvSpPr>
        <p:spPr>
          <a:xfrm>
            <a:off x="7912101" y="1136650"/>
            <a:ext cx="3581400" cy="53858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52451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ТЕХНОЛОГИЧЕСКИЙ КОМПОНЕНТ: НАУКОЕМКИЕ ПРЕДПРИЯТИЯ – ОСНОВНЫЕ ПОЛЬЗОВАТЕЛИ ТЕХНОЛОГИЧЕСКОГО РЕШЕНИЯ</a:t>
            </a:r>
            <a:endParaRPr kumimoji="0" lang="ru-RU" sz="9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yriad Pro"/>
              <a:ea typeface="+mn-ea"/>
              <a:cs typeface="Myriad Pro"/>
            </a:endParaRPr>
          </a:p>
          <a:p>
            <a:pPr marL="0" marR="52451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Times New Roman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Times New Roman"/>
            </a:endParaRPr>
          </a:p>
          <a:p>
            <a:pPr marL="0" marR="327025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Наличие инновации (НИОКР, патент), требующей реализации</a:t>
            </a:r>
            <a:endParaRPr kumimoji="0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  <a:p>
            <a:pPr marL="0" marR="508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srgbClr val="151616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  <a:p>
            <a:pPr marL="0" marR="508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Формализованное</a:t>
            </a:r>
            <a:r>
              <a:rPr kumimoji="0" sz="110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 описание технологии, бизнес- процессов, ресурсов и рыночных приоритетов</a:t>
            </a:r>
            <a:endParaRPr kumimoji="0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  <a:p>
            <a:pPr marL="0" marR="16002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Разработка механизма конвертации в образовательный и управленческий контент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Times New Roman"/>
            </a:endParaRPr>
          </a:p>
          <a:p>
            <a:pPr marL="0" marR="283845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Публичная защита технологического решения ИК по результатам обучения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  <a:p>
            <a:pPr marL="0" marR="62484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yriad Pro"/>
              <a:ea typeface="+mn-ea"/>
              <a:cs typeface="Myriad Pro"/>
            </a:endParaRPr>
          </a:p>
          <a:p>
            <a:pPr marL="0" marR="62484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yriad Pro"/>
              <a:ea typeface="+mn-ea"/>
              <a:cs typeface="Myriad Pro"/>
            </a:endParaRPr>
          </a:p>
          <a:p>
            <a:pPr marL="0" marR="62484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yriad Pro"/>
              <a:ea typeface="+mn-ea"/>
              <a:cs typeface="Myriad Pro"/>
            </a:endParaRPr>
          </a:p>
          <a:p>
            <a:pPr marL="0" marR="62484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КОМПОНЕНТ: ЭКСПЕРТНАЯ ГРУППА И ПРОЕКТНЫЙ ОФИС –</a:t>
            </a: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 </a:t>
            </a:r>
            <a:r>
              <a:rPr kumimoji="0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«ИДЕОЛОГ» ПРОЕКТНЫХ РЕШЕНИЙ, ОРГАНИЗАТОР И КООРДИНАТОР СЦЕНАРИЕВ РАЗВИТИЯ ПРОЕКТА</a:t>
            </a:r>
            <a:endParaRPr kumimoji="0" lang="ru-RU" sz="9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yriad Pro"/>
              <a:ea typeface="+mn-ea"/>
              <a:cs typeface="Myriad Pro"/>
            </a:endParaRPr>
          </a:p>
          <a:p>
            <a:pPr marL="0" marR="455295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Myriad Pro"/>
            </a:endParaRPr>
          </a:p>
          <a:p>
            <a:pPr marL="0" marR="930275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50" b="0" i="0" u="none" strike="noStrike" kern="1200" cap="none" spc="0" normalizeH="0" baseline="0" noProof="0" dirty="0">
              <a:ln>
                <a:noFill/>
              </a:ln>
              <a:solidFill>
                <a:srgbClr val="151616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  <a:p>
            <a:pPr marL="0" marR="930275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Адаптация</a:t>
            </a:r>
            <a:r>
              <a:rPr kumimoji="0" sz="105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 методик и инструментов для НСК практического применения</a:t>
            </a:r>
            <a:endParaRPr kumimoji="0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5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Оценка эффективности управления проектом</a:t>
            </a:r>
            <a:endParaRPr kumimoji="0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  <a:p>
            <a:pPr marL="0" marR="66040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Развитие</a:t>
            </a:r>
            <a:r>
              <a:rPr kumimoji="0" sz="105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 исследовательских, аналитических и управленческих компетенций у проектной команды</a:t>
            </a:r>
            <a:endParaRPr kumimoji="0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  <a:p>
            <a:pPr marL="0" marR="157226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Генерация</a:t>
            </a:r>
            <a:r>
              <a:rPr kumimoji="0" sz="105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 решений, </a:t>
            </a:r>
            <a:r>
              <a:rPr kumimoji="0" lang="ru-RU" sz="105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с</a:t>
            </a:r>
            <a:r>
              <a:rPr kumimoji="0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пособных</a:t>
            </a:r>
            <a:r>
              <a:rPr kumimoji="0" sz="105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 обеспечить инновацию квалифицированными кадрами</a:t>
            </a:r>
            <a:endParaRPr kumimoji="0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  <a:p>
            <a:pPr marL="0" marR="0" lvl="0" indent="0" algn="just" defTabSz="914400" rtl="0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Моделирование процессов внутри проекта</a:t>
            </a:r>
            <a:endParaRPr kumimoji="0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9" name="object 9"/>
          <p:cNvSpPr txBox="1">
            <a:spLocks noGrp="1"/>
          </p:cNvSpPr>
          <p:nvPr>
            <p:ph type="title"/>
          </p:nvPr>
        </p:nvSpPr>
        <p:spPr>
          <a:xfrm>
            <a:off x="1892300" y="235701"/>
            <a:ext cx="8539381" cy="3924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334260">
              <a:lnSpc>
                <a:spcPts val="3220"/>
              </a:lnSpc>
            </a:pPr>
            <a:r>
              <a:rPr sz="2500" kern="1200" dirty="0">
                <a:solidFill>
                  <a:schemeClr val="tx1"/>
                </a:solidFill>
                <a:latin typeface="+mn-lt"/>
                <a:cs typeface="+mj-cs"/>
              </a:rPr>
              <a:t>КОМПОНЕНТЫ МКО</a:t>
            </a:r>
          </a:p>
        </p:txBody>
      </p:sp>
      <p:sp>
        <p:nvSpPr>
          <p:cNvPr id="112" name="object 112"/>
          <p:cNvSpPr txBox="1">
            <a:spLocks noGrp="1"/>
          </p:cNvSpPr>
          <p:nvPr>
            <p:ph sz="half" idx="2"/>
          </p:nvPr>
        </p:nvSpPr>
        <p:spPr>
          <a:xfrm>
            <a:off x="168776" y="1872253"/>
            <a:ext cx="3933324" cy="417409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755015" algn="just">
              <a:lnSpc>
                <a:spcPct val="108000"/>
              </a:lnSpc>
            </a:pPr>
            <a:r>
              <a:rPr b="1" dirty="0"/>
              <a:t>Разработка учебных модулей и тренингов для формирования </a:t>
            </a:r>
            <a:r>
              <a:rPr lang="ru-RU" b="1" dirty="0"/>
              <a:t>к</a:t>
            </a:r>
            <a:r>
              <a:rPr b="1" dirty="0"/>
              <a:t>омпетенций,</a:t>
            </a:r>
            <a:r>
              <a:rPr lang="ru-RU" b="1" dirty="0"/>
              <a:t> </a:t>
            </a:r>
            <a:r>
              <a:rPr b="1" dirty="0"/>
              <a:t> необходимых</a:t>
            </a:r>
            <a:r>
              <a:rPr lang="ru-RU" b="1" dirty="0"/>
              <a:t> </a:t>
            </a:r>
            <a:r>
              <a:rPr b="1" dirty="0"/>
              <a:t>для рыночной реализации кейсов</a:t>
            </a:r>
            <a:endParaRPr lang="ru-RU" b="1" dirty="0"/>
          </a:p>
          <a:p>
            <a:pPr marR="755015" algn="just">
              <a:lnSpc>
                <a:spcPct val="108000"/>
              </a:lnSpc>
            </a:pPr>
            <a:endParaRPr b="1" dirty="0"/>
          </a:p>
          <a:p>
            <a:pPr marR="1023619" algn="just">
              <a:lnSpc>
                <a:spcPct val="108000"/>
              </a:lnSpc>
            </a:pPr>
            <a:r>
              <a:rPr b="1" dirty="0"/>
              <a:t>Реализация процесса обучения и апробация модулей программы и</a:t>
            </a:r>
          </a:p>
          <a:p>
            <a:pPr algn="just">
              <a:lnSpc>
                <a:spcPct val="108000"/>
              </a:lnSpc>
            </a:pPr>
            <a:r>
              <a:rPr b="1" dirty="0"/>
              <a:t>тренингов</a:t>
            </a:r>
          </a:p>
          <a:p>
            <a:pPr algn="just">
              <a:lnSpc>
                <a:spcPct val="108000"/>
              </a:lnSpc>
            </a:pPr>
            <a:endParaRPr sz="1100" b="1" dirty="0">
              <a:latin typeface="Times New Roman"/>
              <a:cs typeface="Times New Roman"/>
            </a:endParaRPr>
          </a:p>
          <a:p>
            <a:pPr marR="836930" algn="just">
              <a:lnSpc>
                <a:spcPct val="108000"/>
              </a:lnSpc>
            </a:pPr>
            <a:r>
              <a:rPr b="1" dirty="0"/>
              <a:t>Получение обратной связи, доработка модулей программы</a:t>
            </a:r>
          </a:p>
          <a:p>
            <a:pPr algn="just">
              <a:lnSpc>
                <a:spcPct val="108000"/>
              </a:lnSpc>
            </a:pPr>
            <a:endParaRPr sz="900" b="1" dirty="0">
              <a:latin typeface="Times New Roman"/>
              <a:cs typeface="Times New Roman"/>
            </a:endParaRPr>
          </a:p>
          <a:p>
            <a:pPr marR="528320" algn="just">
              <a:lnSpc>
                <a:spcPct val="108000"/>
              </a:lnSpc>
            </a:pPr>
            <a:r>
              <a:rPr b="1" dirty="0"/>
              <a:t>Проведение оценки квалификаций и тестирования по окончании обучения</a:t>
            </a:r>
          </a:p>
          <a:p>
            <a:pPr algn="just">
              <a:lnSpc>
                <a:spcPct val="108000"/>
              </a:lnSpc>
            </a:pPr>
            <a:endParaRPr b="1" dirty="0"/>
          </a:p>
          <a:p>
            <a:pPr marR="375920" algn="just">
              <a:lnSpc>
                <a:spcPct val="108000"/>
              </a:lnSpc>
            </a:pPr>
            <a:r>
              <a:rPr sz="1100" b="1" dirty="0"/>
              <a:t>Мониторинг образовательных программ</a:t>
            </a:r>
            <a:endParaRPr lang="ru-RU" sz="1100" b="1" dirty="0"/>
          </a:p>
          <a:p>
            <a:pPr marR="375920" algn="just">
              <a:lnSpc>
                <a:spcPct val="108000"/>
              </a:lnSpc>
            </a:pPr>
            <a:endParaRPr lang="ru-RU" sz="1100" b="1" dirty="0"/>
          </a:p>
          <a:p>
            <a:pPr marR="375920" algn="just">
              <a:lnSpc>
                <a:spcPct val="108000"/>
              </a:lnSpc>
            </a:pPr>
            <a:r>
              <a:rPr sz="1100" b="1" dirty="0"/>
              <a:t> Отбор релевантных практик под технологическую задачу</a:t>
            </a:r>
            <a:endParaRPr lang="ru-RU" sz="1100" b="1" dirty="0"/>
          </a:p>
          <a:p>
            <a:pPr marR="375920" algn="just">
              <a:lnSpc>
                <a:spcPct val="108000"/>
              </a:lnSpc>
            </a:pPr>
            <a:endParaRPr sz="1100" b="1" dirty="0"/>
          </a:p>
          <a:p>
            <a:pPr marR="5080" algn="just">
              <a:lnSpc>
                <a:spcPct val="108000"/>
              </a:lnSpc>
            </a:pPr>
            <a:r>
              <a:rPr sz="1100" b="1" dirty="0"/>
              <a:t>Формирование образовательной траектории на основе  профессиограммы</a:t>
            </a:r>
            <a:r>
              <a:rPr lang="ru-RU" sz="1100" b="1" dirty="0"/>
              <a:t> </a:t>
            </a:r>
            <a:r>
              <a:rPr sz="1100" b="1" dirty="0"/>
              <a:t>члена ИК  после оценки квалификац</a:t>
            </a:r>
            <a:r>
              <a:rPr sz="1100" b="1" spc="-5" dirty="0"/>
              <a:t>и</a:t>
            </a:r>
            <a:r>
              <a:rPr sz="1100" b="1" dirty="0"/>
              <a:t>й и тестирования</a:t>
            </a:r>
          </a:p>
        </p:txBody>
      </p:sp>
      <p:sp>
        <p:nvSpPr>
          <p:cNvPr id="114" name="object 114"/>
          <p:cNvSpPr txBox="1"/>
          <p:nvPr/>
        </p:nvSpPr>
        <p:spPr>
          <a:xfrm>
            <a:off x="850982" y="1136650"/>
            <a:ext cx="2943860" cy="56117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065" marR="5080" lvl="0" indent="0" algn="ctr" defTabSz="914400" rtl="0" eaLnBrk="1" fontAlgn="auto" latinLnBrk="0" hangingPunct="1">
              <a:lnSpc>
                <a:spcPct val="1032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ОБРАЗОВАТЕЛЬНЫЙ КОМПОНЕНТ: ПРОФИЛЬНЫЕ ВУЗЫ – ПОСТАВЩИКИ НАУКОЕМКИХ ТЕХНОЛОГИЧЕСКИХ РЕШЕНИЙ    </a:t>
            </a:r>
            <a:r>
              <a:rPr kumimoji="0" sz="900" b="1" i="0" u="none" strike="noStrike" kern="1200" cap="none" spc="7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 </a:t>
            </a:r>
            <a:r>
              <a:rPr kumimoji="0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РАЗРАБОТЧИКИ МОДУЛЕЙ ПРОГРАММЫ ОБУЧЕНИЯ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yriad Pro"/>
              <a:ea typeface="+mn-ea"/>
              <a:cs typeface="Myriad Pro"/>
            </a:endParaRPr>
          </a:p>
        </p:txBody>
      </p:sp>
      <p:sp>
        <p:nvSpPr>
          <p:cNvPr id="118" name="object 118"/>
          <p:cNvSpPr txBox="1"/>
          <p:nvPr/>
        </p:nvSpPr>
        <p:spPr>
          <a:xfrm>
            <a:off x="6379330" y="2632536"/>
            <a:ext cx="304165" cy="533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4000" b="1" i="0" u="none" strike="noStrike" kern="1200" cap="none" spc="0" normalizeH="0" baseline="0" noProof="0" dirty="0">
                <a:ln>
                  <a:noFill/>
                </a:ln>
                <a:solidFill>
                  <a:srgbClr val="FCBA04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Т</a:t>
            </a:r>
            <a:endParaRPr kumimoji="0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Myriad Pro"/>
            </a:endParaRPr>
          </a:p>
        </p:txBody>
      </p:sp>
      <p:sp>
        <p:nvSpPr>
          <p:cNvPr id="119" name="object 119"/>
          <p:cNvSpPr txBox="1"/>
          <p:nvPr/>
        </p:nvSpPr>
        <p:spPr>
          <a:xfrm>
            <a:off x="4299196" y="3067221"/>
            <a:ext cx="389890" cy="533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4000" b="1" i="0" u="none" strike="noStrike" kern="1200" cap="none" spc="0" normalizeH="0" baseline="0" noProof="0" dirty="0">
                <a:ln>
                  <a:noFill/>
                </a:ln>
                <a:solidFill>
                  <a:srgbClr val="E71368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О</a:t>
            </a:r>
            <a:endParaRPr kumimoji="0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Myriad Pro"/>
            </a:endParaRPr>
          </a:p>
        </p:txBody>
      </p:sp>
      <p:sp>
        <p:nvSpPr>
          <p:cNvPr id="126" name="object 126"/>
          <p:cNvSpPr txBox="1"/>
          <p:nvPr/>
        </p:nvSpPr>
        <p:spPr>
          <a:xfrm>
            <a:off x="529579" y="6514359"/>
            <a:ext cx="102108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526CA2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МКО - Модель Кадрового Обеспечения, ИК - Инжиниринговая Команда, НСК - Национальная Система Квалификаций</a:t>
            </a:r>
            <a:endParaRPr kumimoji="0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127" name="object 127"/>
          <p:cNvSpPr txBox="1"/>
          <p:nvPr/>
        </p:nvSpPr>
        <p:spPr>
          <a:xfrm>
            <a:off x="5634979" y="4736822"/>
            <a:ext cx="324485" cy="533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4000" b="1" i="0" u="none" strike="noStrike" kern="1200" cap="none" spc="0" normalizeH="0" baseline="0" noProof="0" dirty="0">
                <a:ln>
                  <a:noFill/>
                </a:ln>
                <a:solidFill>
                  <a:srgbClr val="9DCA27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У</a:t>
            </a:r>
            <a:endParaRPr kumimoji="0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Myriad Pro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object 92"/>
          <p:cNvSpPr/>
          <p:nvPr/>
        </p:nvSpPr>
        <p:spPr>
          <a:xfrm>
            <a:off x="0" y="6783803"/>
            <a:ext cx="12167880" cy="5618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1" name="object 101"/>
          <p:cNvSpPr txBox="1"/>
          <p:nvPr/>
        </p:nvSpPr>
        <p:spPr>
          <a:xfrm>
            <a:off x="2156548" y="274217"/>
            <a:ext cx="9430068" cy="3847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92480" marR="5080" lvl="0" indent="-779780" algn="l" defTabSz="914400" rtl="0" eaLnBrk="1" fontAlgn="auto" latinLnBrk="0" hangingPunct="1">
              <a:lnSpc>
                <a:spcPts val="30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sz="2500" b="1" dirty="0">
                <a:ea typeface="+mj-ea"/>
                <a:cs typeface="+mj-cs"/>
              </a:rPr>
              <a:t>ОБРАЗОВАТЕЛЬНАЯ ТРАЕКТОРИЯ </a:t>
            </a:r>
          </a:p>
        </p:txBody>
      </p:sp>
      <p:sp>
        <p:nvSpPr>
          <p:cNvPr id="102" name="object 102"/>
          <p:cNvSpPr txBox="1"/>
          <p:nvPr/>
        </p:nvSpPr>
        <p:spPr>
          <a:xfrm>
            <a:off x="1151951" y="4244069"/>
            <a:ext cx="2035810" cy="15388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60020" marR="152400" lvl="0" indent="0" algn="ctr" defTabSz="914400" rtl="0" eaLnBrk="1" fontAlgn="auto" latinLnBrk="0" hangingPunct="1">
              <a:lnSpc>
                <a:spcPts val="11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тбор в 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К</a:t>
            </a:r>
            <a:r>
              <a:rPr kumimoji="0" sz="100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в соответствии с профилем кейса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15161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60020" marR="152400" lvl="0" indent="0" algn="ctr" defTabSz="914400" rtl="0" eaLnBrk="1" fontAlgn="auto" latinLnBrk="0" hangingPunct="1">
              <a:lnSpc>
                <a:spcPts val="11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15161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60020" marR="152400" lvl="0" indent="0" algn="ctr" defTabSz="914400" rtl="0" eaLnBrk="1" fontAlgn="auto" latinLnBrk="0" hangingPunct="1">
              <a:lnSpc>
                <a:spcPts val="11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ценка квалификации и компетенций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15161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60020" marR="152400" lvl="0" indent="0" algn="ctr" defTabSz="914400" rtl="0" eaLnBrk="1" fontAlgn="auto" latinLnBrk="0" hangingPunct="1">
              <a:lnSpc>
                <a:spcPts val="11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15161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2700" marR="5080" lvl="0" indent="0" algn="ctr" defTabSz="914400" rtl="0" eaLnBrk="1" fontAlgn="auto" latinLnBrk="0" hangingPunct="1">
              <a:lnSpc>
                <a:spcPts val="1180"/>
              </a:lnSpc>
              <a:spcBef>
                <a:spcPts val="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Анализ результатов входного контроля для дальнейшего формирования</a:t>
            </a:r>
            <a:endParaRPr kumimoji="0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ts val="11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бразовательного трека</a:t>
            </a:r>
            <a:endParaRPr kumimoji="0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3" name="object 103"/>
          <p:cNvSpPr txBox="1"/>
          <p:nvPr/>
        </p:nvSpPr>
        <p:spPr>
          <a:xfrm>
            <a:off x="3680704" y="1050245"/>
            <a:ext cx="2895599" cy="186272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9079" marR="251460" lvl="0" indent="0" algn="l" defTabSz="914400" rtl="0" eaLnBrk="1" fontAlgn="auto" latinLnBrk="0" hangingPunct="1">
              <a:lnSpc>
                <a:spcPts val="11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5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ыстраивание образовательной траектории на основе бизнес-процессов кейса и выявленных квалиф.дефицитов</a:t>
            </a:r>
            <a:endParaRPr kumimoji="0" lang="ru-RU" sz="1050" b="1" i="0" u="none" strike="noStrike" kern="1200" cap="none" spc="0" normalizeH="0" baseline="0" noProof="0" dirty="0">
              <a:ln>
                <a:noFill/>
              </a:ln>
              <a:solidFill>
                <a:srgbClr val="15161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59079" marR="251460" lvl="0" indent="0" algn="l" defTabSz="914400" rtl="0" eaLnBrk="1" fontAlgn="auto" latinLnBrk="0" hangingPunct="1">
              <a:lnSpc>
                <a:spcPts val="11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2700" marR="5080" lvl="0" indent="669290" algn="l" defTabSz="914400" rtl="0" eaLnBrk="1" fontAlgn="auto" latinLnBrk="0" hangingPunct="1">
              <a:lnSpc>
                <a:spcPts val="11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5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рганизация доступа к образовательным и информационным ресурсам</a:t>
            </a:r>
            <a:endParaRPr kumimoji="0" lang="ru-RU" sz="1050" b="1" i="0" u="none" strike="noStrike" kern="1200" cap="none" spc="0" normalizeH="0" baseline="0" noProof="0" dirty="0">
              <a:ln>
                <a:noFill/>
              </a:ln>
              <a:solidFill>
                <a:srgbClr val="15161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2700" marR="5080" lvl="0" indent="669290" algn="l" defTabSz="914400" rtl="0" eaLnBrk="1" fontAlgn="auto" latinLnBrk="0" hangingPunct="1">
              <a:lnSpc>
                <a:spcPts val="11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07010" marR="199390" lvl="0" indent="0" algn="l" defTabSz="914400" rtl="0" eaLnBrk="1" fontAlgn="auto" latinLnBrk="0" hangingPunct="1">
              <a:lnSpc>
                <a:spcPts val="11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</a:t>
            </a:r>
            <a:r>
              <a:rPr kumimoji="0" sz="105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хождение об</a:t>
            </a:r>
            <a:r>
              <a:rPr kumimoji="0" lang="ru-RU" sz="105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чения</a:t>
            </a:r>
          </a:p>
          <a:p>
            <a:pPr marL="207010" marR="199390" lvl="0" indent="0" algn="l" defTabSz="914400" rtl="0" eaLnBrk="1" fontAlgn="auto" latinLnBrk="0" hangingPunct="1">
              <a:lnSpc>
                <a:spcPts val="11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5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endParaRPr kumimoji="0" lang="ru-RU" sz="1050" b="1" i="0" u="none" strike="noStrike" kern="1200" cap="none" spc="0" normalizeH="0" baseline="0" noProof="0" dirty="0">
              <a:ln>
                <a:noFill/>
              </a:ln>
              <a:solidFill>
                <a:srgbClr val="15161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07010" marR="199390" lvl="0" indent="0" algn="l" defTabSz="914400" rtl="0" eaLnBrk="1" fontAlgn="auto" latinLnBrk="0" hangingPunct="1">
              <a:lnSpc>
                <a:spcPts val="11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5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ттестация по итогам командной защиты решения кейса</a:t>
            </a:r>
            <a:endParaRPr kumimoji="0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4" name="object 104"/>
          <p:cNvSpPr txBox="1"/>
          <p:nvPr/>
        </p:nvSpPr>
        <p:spPr>
          <a:xfrm>
            <a:off x="9359900" y="1777627"/>
            <a:ext cx="1925320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0" algn="ctr" defTabSz="914400" rtl="0" eaLnBrk="1" fontAlgn="auto" latinLnBrk="0" hangingPunct="1">
              <a:lnSpc>
                <a:spcPts val="11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дтверждена квалификаци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я</a:t>
            </a: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15161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2700" marR="5080" lvl="0" indent="0" algn="ctr" defTabSz="914400" rtl="0" eaLnBrk="1" fontAlgn="auto" latinLnBrk="0" hangingPunct="1">
              <a:lnSpc>
                <a:spcPts val="11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качаны компетенции для работы в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К</a:t>
            </a: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15161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2700" marR="5080" lvl="0" indent="0" algn="ctr" defTabSz="914400" rtl="0" eaLnBrk="1" fontAlgn="auto" latinLnBrk="0" hangingPunct="1">
              <a:lnSpc>
                <a:spcPts val="11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отивация участия в</a:t>
            </a: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ts val="11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ложных проектах</a:t>
            </a: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5" name="object 105"/>
          <p:cNvSpPr txBox="1"/>
          <p:nvPr/>
        </p:nvSpPr>
        <p:spPr>
          <a:xfrm>
            <a:off x="6231954" y="4051743"/>
            <a:ext cx="2823146" cy="126957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2570" marR="234950" lvl="0" indent="0" algn="ctr" defTabSz="914400" rtl="0" eaLnBrk="1" fontAlgn="auto" latinLnBrk="0" hangingPunct="1">
              <a:lnSpc>
                <a:spcPts val="11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Оценка квалификации и компетенций по итогам обучения</a:t>
            </a: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srgbClr val="151616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  <a:p>
            <a:pPr marL="242570" marR="234950" lvl="0" indent="0" algn="ctr" defTabSz="914400" rtl="0" eaLnBrk="1" fontAlgn="auto" latinLnBrk="0" hangingPunct="1">
              <a:lnSpc>
                <a:spcPts val="11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  <a:p>
            <a:pPr marL="175260" marR="167640" lvl="0" indent="0" algn="ctr" defTabSz="914400" rtl="0" eaLnBrk="1" fontAlgn="auto" latinLnBrk="0" hangingPunct="1">
              <a:lnSpc>
                <a:spcPts val="11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Анализ профессиональных изменений </a:t>
            </a: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srgbClr val="151616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  <a:p>
            <a:pPr marL="175260" marR="167640" lvl="0" indent="0" algn="ctr" defTabSz="914400" rtl="0" eaLnBrk="1" fontAlgn="auto" latinLnBrk="0" hangingPunct="1">
              <a:lnSpc>
                <a:spcPts val="11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srgbClr val="151616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  <a:p>
            <a:pPr marL="175260" marR="167640" lvl="0" indent="0" algn="ctr" defTabSz="914400" rtl="0" eaLnBrk="1" fontAlgn="auto" latinLnBrk="0" hangingPunct="1">
              <a:lnSpc>
                <a:spcPts val="11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Составление профкарты</a:t>
            </a: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srgbClr val="151616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  <a:p>
            <a:pPr marL="175260" marR="167640" lvl="0" indent="0" algn="ctr" defTabSz="914400" rtl="0" eaLnBrk="1" fontAlgn="auto" latinLnBrk="0" hangingPunct="1">
              <a:lnSpc>
                <a:spcPts val="11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  <a:p>
            <a:pPr marL="12700" marR="5080" lvl="0" indent="326390" algn="l" defTabSz="914400" rtl="0" eaLnBrk="1" fontAlgn="auto" latinLnBrk="0" hangingPunct="1">
              <a:lnSpc>
                <a:spcPts val="11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Корректировка образовательного модуля</a:t>
            </a:r>
            <a:endParaRPr kumimoji="0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106" name="object 106"/>
          <p:cNvSpPr txBox="1"/>
          <p:nvPr/>
        </p:nvSpPr>
        <p:spPr>
          <a:xfrm>
            <a:off x="6060687" y="5554912"/>
            <a:ext cx="810895" cy="127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Анализ мотивации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108" name="object 108"/>
          <p:cNvSpPr txBox="1"/>
          <p:nvPr/>
        </p:nvSpPr>
        <p:spPr>
          <a:xfrm>
            <a:off x="7091489" y="5574128"/>
            <a:ext cx="896811" cy="2476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63525" marR="5080" lvl="0" indent="-251460" algn="l" defTabSz="914400" rtl="0" eaLnBrk="1" fontAlgn="auto" latinLnBrk="0" hangingPunct="1">
              <a:lnSpc>
                <a:spcPts val="9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Оценка командной работы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109" name="object 109"/>
          <p:cNvSpPr txBox="1"/>
          <p:nvPr/>
        </p:nvSpPr>
        <p:spPr>
          <a:xfrm>
            <a:off x="8141882" y="5556128"/>
            <a:ext cx="760818" cy="2476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165100" algn="l" defTabSz="914400" rtl="0" eaLnBrk="1" fontAlgn="auto" latinLnBrk="0" hangingPunct="1">
              <a:lnSpc>
                <a:spcPts val="9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Оценка личностных KPI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126" name="object 126"/>
          <p:cNvSpPr txBox="1"/>
          <p:nvPr/>
        </p:nvSpPr>
        <p:spPr>
          <a:xfrm>
            <a:off x="4025899" y="5999676"/>
            <a:ext cx="4648201" cy="6227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ts val="173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1" i="0" u="none" strike="noStrike" kern="1200" cap="none" spc="0" normalizeH="0" baseline="0" noProof="0" dirty="0">
                <a:ln>
                  <a:noFill/>
                </a:ln>
                <a:solidFill>
                  <a:srgbClr val="CB0E38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СОВОКУПНОСТЬ ТФ, ОПРЕДЕЛЯЮЩИХ НЕОБХОДИМЫЕ</a:t>
            </a:r>
            <a:r>
              <a:rPr kumimoji="0" sz="800" b="1" i="0" u="none" strike="noStrike" kern="1200" cap="none" spc="-5" normalizeH="0" baseline="0" noProof="0" dirty="0">
                <a:ln>
                  <a:noFill/>
                </a:ln>
                <a:solidFill>
                  <a:srgbClr val="CB0E38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 </a:t>
            </a:r>
            <a:r>
              <a:rPr kumimoji="0" sz="800" b="1" i="0" u="none" strike="noStrike" kern="1200" cap="none" spc="0" normalizeH="0" baseline="0" noProof="0" dirty="0">
                <a:ln>
                  <a:noFill/>
                </a:ln>
                <a:solidFill>
                  <a:srgbClr val="CB0E38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SOFT SKILLS </a:t>
            </a:r>
            <a:r>
              <a:rPr kumimoji="0" sz="800" b="1" i="0" u="none" strike="noStrike" kern="1200" cap="none" spc="0" normalizeH="0" baseline="0" noProof="0" dirty="0">
                <a:ln>
                  <a:noFill/>
                </a:ln>
                <a:solidFill>
                  <a:srgbClr val="CB0E38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ОБУЧАЮЩЕГОСЯ СОВОКУПНОСТЬ ТФ, ОПРЕДЕЛЯЮЩИХ</a:t>
            </a:r>
            <a:r>
              <a:rPr kumimoji="0" sz="800" b="1" i="0" u="none" strike="noStrike" kern="1200" cap="none" spc="-5" normalizeH="0" baseline="0" noProof="0" dirty="0">
                <a:ln>
                  <a:noFill/>
                </a:ln>
                <a:solidFill>
                  <a:srgbClr val="CB0E38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 </a:t>
            </a:r>
            <a:r>
              <a:rPr kumimoji="0" sz="800" b="1" i="0" u="none" strike="noStrike" kern="1200" cap="none" spc="0" normalizeH="0" baseline="0" noProof="0" dirty="0">
                <a:ln>
                  <a:noFill/>
                </a:ln>
                <a:solidFill>
                  <a:srgbClr val="CB0E38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УНИКАЛЬНОСТЬ И СПЕЦИАЛИЗАЦИЮ </a:t>
            </a:r>
            <a:r>
              <a:rPr kumimoji="0" sz="800" b="1" i="0" u="none" strike="noStrike" kern="1200" cap="none" spc="0" normalizeH="0" baseline="0" noProof="0" dirty="0">
                <a:ln>
                  <a:noFill/>
                </a:ln>
                <a:solidFill>
                  <a:srgbClr val="CB0E38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ОБУЧАЮЩЕГОСЯ СОВОКУПНОСТЬ ТФ, ОПРЕДЕЛЯЮЩИХ</a:t>
            </a:r>
            <a:r>
              <a:rPr kumimoji="0" sz="800" b="1" i="0" u="none" strike="noStrike" kern="1200" cap="none" spc="-5" normalizeH="0" baseline="0" noProof="0" dirty="0">
                <a:ln>
                  <a:noFill/>
                </a:ln>
                <a:solidFill>
                  <a:srgbClr val="CB0E38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 </a:t>
            </a:r>
            <a:r>
              <a:rPr kumimoji="0" sz="800" b="1" i="0" u="none" strike="noStrike" kern="1200" cap="none" spc="0" normalizeH="0" baseline="0" noProof="0" dirty="0">
                <a:ln>
                  <a:noFill/>
                </a:ln>
                <a:solidFill>
                  <a:srgbClr val="CB0E38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БАЗОВЫЙ ПРОФИЛЬ </a:t>
            </a:r>
            <a:r>
              <a:rPr kumimoji="0" sz="800" b="1" i="0" u="none" strike="noStrike" kern="1200" cap="none" spc="0" normalizeH="0" baseline="0" noProof="0" dirty="0">
                <a:ln>
                  <a:noFill/>
                </a:ln>
                <a:solidFill>
                  <a:srgbClr val="CB0E38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ОБУЧАЮЩЕГОСЯ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135" name="object 135"/>
          <p:cNvSpPr txBox="1"/>
          <p:nvPr/>
        </p:nvSpPr>
        <p:spPr>
          <a:xfrm>
            <a:off x="9549479" y="4519879"/>
            <a:ext cx="1020444" cy="2235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5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РЕЗУЛЬТАТ</a:t>
            </a:r>
            <a:endParaRPr kumimoji="0" sz="15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136" name="object 136"/>
          <p:cNvSpPr txBox="1"/>
          <p:nvPr/>
        </p:nvSpPr>
        <p:spPr>
          <a:xfrm>
            <a:off x="6934661" y="2881581"/>
            <a:ext cx="984885" cy="4083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8745" marR="5080" lvl="0" indent="-106680" algn="l" defTabSz="914400" rtl="0" eaLnBrk="1" fontAlgn="auto" latinLnBrk="0" hangingPunct="1">
              <a:lnSpc>
                <a:spcPct val="78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5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ИТОГОВАЯ ОЦЕНКА</a:t>
            </a:r>
            <a:endParaRPr kumimoji="0" sz="15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137" name="object 137"/>
          <p:cNvSpPr txBox="1"/>
          <p:nvPr/>
        </p:nvSpPr>
        <p:spPr>
          <a:xfrm>
            <a:off x="4120297" y="4366920"/>
            <a:ext cx="1330960" cy="4540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0" algn="ctr" defTabSz="914400" rtl="0" eaLnBrk="1" fontAlgn="auto" latinLnBrk="0" hangingPunct="1">
              <a:lnSpc>
                <a:spcPts val="11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ИНДИВИДУАЛЬНЫЙ ОБРАЗОВАТЕЛЬНЫЙ ПЛАН</a:t>
            </a:r>
            <a:endParaRPr kumimoji="0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138" name="object 138"/>
          <p:cNvSpPr txBox="1"/>
          <p:nvPr/>
        </p:nvSpPr>
        <p:spPr>
          <a:xfrm>
            <a:off x="1783448" y="3116929"/>
            <a:ext cx="794652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9070" marR="5080" lvl="0" indent="-167005" algn="l" defTabSz="914400" rtl="0" eaLnBrk="1" fontAlgn="auto" latinLnBrk="0" hangingPunct="1">
              <a:lnSpc>
                <a:spcPts val="12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ВХОДНОЙ ЭТАП</a:t>
            </a: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Группа 12"/>
          <p:cNvGrpSpPr/>
          <p:nvPr/>
        </p:nvGrpSpPr>
        <p:grpSpPr>
          <a:xfrm>
            <a:off x="8971035" y="794"/>
            <a:ext cx="3195565" cy="6843713"/>
            <a:chOff x="8989764" y="0"/>
            <a:chExt cx="3202236" cy="6858000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8989764" y="0"/>
              <a:ext cx="3202236" cy="6858000"/>
            </a:xfrm>
            <a:prstGeom prst="rect">
              <a:avLst/>
            </a:prstGeom>
            <a:gradFill>
              <a:gsLst>
                <a:gs pos="50000">
                  <a:srgbClr val="2C284D"/>
                </a:gs>
                <a:gs pos="0">
                  <a:srgbClr val="2C2850"/>
                </a:gs>
                <a:gs pos="100000">
                  <a:srgbClr val="2C284A">
                    <a:alpha val="50000"/>
                  </a:srgbClr>
                </a:gs>
              </a:gsLst>
              <a:lin ang="162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796" dirty="0"/>
            </a:p>
          </p:txBody>
        </p:sp>
        <p:pic>
          <p:nvPicPr>
            <p:cNvPr id="18" name="Picture 3" descr="D:\Документы\2019\Цыбуков\к ролику КП\преза_ 08.10\Gmail(9)\схемы2.jpg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5442" t="80348" r="612" b="12471"/>
            <a:stretch/>
          </p:blipFill>
          <p:spPr bwMode="auto">
            <a:xfrm>
              <a:off x="9222902" y="5948849"/>
              <a:ext cx="2615803" cy="7583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" name="Прямоугольник 20"/>
            <p:cNvSpPr/>
            <p:nvPr/>
          </p:nvSpPr>
          <p:spPr>
            <a:xfrm>
              <a:off x="9317858" y="1974317"/>
              <a:ext cx="2533573" cy="156696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597" b="1" cap="all" dirty="0">
                  <a:solidFill>
                    <a:srgbClr val="7571A3"/>
                  </a:solidFill>
                  <a:latin typeface="Gotham Pro" panose="02000503040000020004" pitchFamily="50" charset="0"/>
                  <a:cs typeface="Gotham Pro" panose="02000503040000020004" pitchFamily="50" charset="0"/>
                </a:rPr>
                <a:t>Цель проекта</a:t>
              </a:r>
              <a:r>
                <a:rPr lang="ru-RU" sz="1597" dirty="0">
                  <a:solidFill>
                    <a:schemeClr val="bg1"/>
                  </a:solidFill>
                  <a:latin typeface="Gotham Pro" panose="02000503040000020004" pitchFamily="50" charset="0"/>
                  <a:cs typeface="Gotham Pro" panose="02000503040000020004" pitchFamily="50" charset="0"/>
                </a:rPr>
                <a:t> обеспечение российских наукоемких компаний комплексным решением в области кадрового обеспечения</a:t>
              </a:r>
              <a:r>
                <a:rPr lang="en-US" sz="1597" dirty="0">
                  <a:solidFill>
                    <a:schemeClr val="bg1"/>
                  </a:solidFill>
                  <a:latin typeface="Gotham Pro" panose="02000503040000020004" pitchFamily="50" charset="0"/>
                  <a:cs typeface="Gotham Pro" panose="02000503040000020004" pitchFamily="50" charset="0"/>
                </a:rPr>
                <a:t>. </a:t>
              </a:r>
              <a:endParaRPr lang="ru-RU" sz="1597" dirty="0">
                <a:solidFill>
                  <a:schemeClr val="bg1"/>
                </a:solidFill>
                <a:latin typeface="Gotham Pro" panose="02000503040000020004" pitchFamily="50" charset="0"/>
                <a:cs typeface="Gotham Pro" panose="02000503040000020004" pitchFamily="50" charset="0"/>
              </a:endParaRPr>
            </a:p>
          </p:txBody>
        </p:sp>
      </p:grpSp>
      <p:grpSp>
        <p:nvGrpSpPr>
          <p:cNvPr id="19" name="Группа 18"/>
          <p:cNvGrpSpPr/>
          <p:nvPr/>
        </p:nvGrpSpPr>
        <p:grpSpPr>
          <a:xfrm>
            <a:off x="215900" y="229444"/>
            <a:ext cx="7697632" cy="1178448"/>
            <a:chOff x="714880" y="414338"/>
            <a:chExt cx="7713703" cy="1180908"/>
          </a:xfrm>
        </p:grpSpPr>
        <p:sp>
          <p:nvSpPr>
            <p:cNvPr id="15" name="Прямоугольник 14"/>
            <p:cNvSpPr/>
            <p:nvPr/>
          </p:nvSpPr>
          <p:spPr>
            <a:xfrm>
              <a:off x="714880" y="414338"/>
              <a:ext cx="5373369" cy="47805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2500" b="1" dirty="0">
                  <a:ea typeface="+mj-ea"/>
                  <a:cs typeface="+mj-cs"/>
                </a:rPr>
                <a:t>МОДЕЛЬ КАДРОВОГО ОБЕСПЕЧЕНИЯ </a:t>
              </a:r>
            </a:p>
          </p:txBody>
        </p:sp>
        <p:sp>
          <p:nvSpPr>
            <p:cNvPr id="7" name="Прямоугольник 6"/>
            <p:cNvSpPr/>
            <p:nvPr/>
          </p:nvSpPr>
          <p:spPr>
            <a:xfrm>
              <a:off x="724184" y="948851"/>
              <a:ext cx="7704399" cy="64639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796" dirty="0">
                  <a:latin typeface="Arial Black" panose="020B0A04020102020204" pitchFamily="34" charset="0"/>
                  <a:cs typeface="Gotham Pro" panose="02000503040000020004" pitchFamily="50" charset="0"/>
                </a:rPr>
                <a:t>формирование инжиниринговых команд для внедрения передовых производственных технологий</a:t>
              </a:r>
            </a:p>
          </p:txBody>
        </p:sp>
      </p:grp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50E82968-BB7C-46C2-BEDA-54F65A6415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0700" y="1412065"/>
            <a:ext cx="6553200" cy="5134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17364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object 37"/>
          <p:cNvSpPr txBox="1">
            <a:spLocks noGrp="1"/>
          </p:cNvSpPr>
          <p:nvPr>
            <p:ph type="title"/>
          </p:nvPr>
        </p:nvSpPr>
        <p:spPr>
          <a:xfrm>
            <a:off x="2409784" y="298244"/>
            <a:ext cx="8539381" cy="3847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30835">
              <a:lnSpc>
                <a:spcPct val="100000"/>
              </a:lnSpc>
            </a:pPr>
            <a:r>
              <a:rPr sz="2500" kern="1200" dirty="0">
                <a:solidFill>
                  <a:schemeClr val="tx1"/>
                </a:solidFill>
                <a:latin typeface="+mn-lt"/>
                <a:cs typeface="+mj-cs"/>
              </a:rPr>
              <a:t>ПОТЕНЦИАЛЬНЫЕ ПОЛЬЗОВАТЕЛИ ПРОЕКТА</a:t>
            </a:r>
          </a:p>
        </p:txBody>
      </p:sp>
      <p:sp>
        <p:nvSpPr>
          <p:cNvPr id="46" name="object 46"/>
          <p:cNvSpPr txBox="1"/>
          <p:nvPr/>
        </p:nvSpPr>
        <p:spPr>
          <a:xfrm>
            <a:off x="4776891" y="3081274"/>
            <a:ext cx="2417445" cy="21141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2194560" lvl="0" indent="95885" algn="l" defTabSz="914400" rtl="0" eaLnBrk="1" fontAlgn="auto" latinLnBrk="0" hangingPunct="1">
              <a:lnSpc>
                <a:spcPct val="105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и </a:t>
            </a:r>
            <a:r>
              <a:rPr kumimoji="0" sz="800" b="0" i="0" u="none" strike="noStrike" kern="1200" cap="none" spc="-9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а</a:t>
            </a:r>
            <a:r>
              <a:rPr kumimoji="0" sz="1200" b="0" i="0" u="none" strike="noStrike" kern="1200" cap="none" spc="0" normalizeH="0" baseline="3472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д</a:t>
            </a:r>
            <a:endParaRPr kumimoji="0" sz="1200" b="0" i="0" u="none" strike="noStrike" kern="1200" cap="none" spc="0" normalizeH="0" baseline="3472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1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1200" cap="none" spc="-1335" normalizeH="0" baseline="-6944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и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к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Times New Roman"/>
            </a:endParaRPr>
          </a:p>
          <a:p>
            <a:pPr marL="97155" marR="0" lvl="0" indent="0" algn="l" defTabSz="914400" rtl="0" eaLnBrk="1" fontAlgn="auto" latinLnBrk="0" hangingPunct="1">
              <a:lnSpc>
                <a:spcPct val="100000"/>
              </a:lnSpc>
              <a:spcBef>
                <a:spcPts val="6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-64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о</a:t>
            </a:r>
            <a:r>
              <a:rPr kumimoji="0" sz="1200" b="0" i="0" u="none" strike="noStrike" kern="1200" cap="none" spc="0" normalizeH="0" baseline="-20833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г</a:t>
            </a:r>
            <a:endParaRPr kumimoji="0" sz="1200" b="0" i="0" u="none" strike="noStrike" kern="1200" cap="none" spc="0" normalizeH="0" baseline="-20833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  <a:p>
            <a:pPr marL="81280" marR="1820545" lvl="0" indent="-69850" algn="l" defTabSz="914400" rtl="0" eaLnBrk="1" fontAlgn="auto" latinLnBrk="0" hangingPunct="1">
              <a:lnSpc>
                <a:spcPct val="34200"/>
              </a:lnSpc>
              <a:spcBef>
                <a:spcPts val="74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1200" cap="none" spc="0" normalizeH="0" baseline="41666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o</a:t>
            </a:r>
            <a:r>
              <a:rPr kumimoji="0" sz="1200" b="0" i="0" u="none" strike="noStrike" kern="1200" cap="none" spc="44" normalizeH="0" baseline="41666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 </a:t>
            </a:r>
            <a:r>
              <a:rPr kumimoji="0" sz="1200" i="0" u="none" strike="noStrike" kern="1200" cap="none" spc="-922" normalizeH="0" baseline="27777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о</a:t>
            </a:r>
            <a:r>
              <a:rPr kumimoji="0" sz="8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н</a:t>
            </a:r>
            <a:r>
              <a:rPr kumimoji="0" sz="80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 </a:t>
            </a:r>
            <a:r>
              <a:rPr kumimoji="0" sz="1200" i="0" u="none" strike="noStrike" kern="1200" cap="none" spc="0" normalizeH="0" baseline="3472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а         </a:t>
            </a:r>
            <a:r>
              <a:rPr kumimoji="0" sz="1200" i="0" u="none" strike="noStrike" kern="1200" cap="none" spc="-1125" normalizeH="0" baseline="13888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о</a:t>
            </a:r>
            <a:r>
              <a:rPr kumimoji="0" sz="800" i="0" u="none" strike="noStrike" kern="1200" cap="none" spc="-73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г</a:t>
            </a:r>
            <a:r>
              <a:rPr kumimoji="0" sz="1200" i="0" u="none" strike="noStrike" kern="1200" cap="none" spc="0" normalizeH="0" baseline="-10416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н</a:t>
            </a:r>
            <a:r>
              <a:rPr kumimoji="0" sz="1200" i="0" u="none" strike="noStrike" kern="1200" cap="none" spc="-217" normalizeH="0" baseline="-10416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 </a:t>
            </a:r>
            <a:r>
              <a:rPr kumimoji="0" sz="800" i="0" u="none" strike="noStrike" kern="1200" cap="none" spc="-56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ь</a:t>
            </a:r>
            <a:r>
              <a:rPr kumimoji="0" sz="1200" i="0" u="none" strike="noStrike" kern="1200" cap="none" spc="-67" normalizeH="0" baseline="-20833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л</a:t>
            </a:r>
            <a:r>
              <a:rPr kumimoji="0" sz="1200" i="0" u="none" strike="noStrike" kern="1200" cap="none" spc="-712" normalizeH="0" baseline="-6944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ж</a:t>
            </a:r>
            <a:r>
              <a:rPr kumimoji="0" sz="1200" i="0" u="none" strike="noStrike" kern="1200" cap="none" spc="0" normalizeH="0" baseline="-27777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и</a:t>
            </a:r>
            <a:endParaRPr kumimoji="0" sz="1200" i="0" u="none" strike="noStrike" kern="1200" cap="none" spc="0" normalizeH="0" baseline="-27777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  <a:p>
            <a:pPr marL="261620" marR="0" lvl="0" indent="-92710" algn="l" defTabSz="914400" rtl="0" eaLnBrk="1" fontAlgn="auto" latinLnBrk="0" hangingPunct="1">
              <a:lnSpc>
                <a:spcPts val="6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i="0" u="none" strike="noStrike" kern="1200" cap="none" spc="-832" normalizeH="0" baseline="27777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ч</a:t>
            </a:r>
            <a:r>
              <a:rPr kumimoji="0" sz="1200" i="0" u="none" strike="noStrike" kern="1200" cap="none" spc="0" normalizeH="0" baseline="3472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и</a:t>
            </a:r>
            <a:r>
              <a:rPr kumimoji="0" sz="1200" i="0" u="none" strike="noStrike" kern="1200" cap="none" spc="-179" normalizeH="0" baseline="3472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 </a:t>
            </a:r>
            <a:r>
              <a:rPr kumimoji="0" sz="1200" i="0" u="none" strike="noStrike" kern="1200" cap="none" spc="-757" normalizeH="0" baseline="20833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а</a:t>
            </a:r>
            <a:r>
              <a:rPr kumimoji="0" sz="8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н</a:t>
            </a:r>
            <a:r>
              <a:rPr kumimoji="0" sz="800" i="0" u="none" strike="noStrike" kern="1200" cap="none" spc="-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 </a:t>
            </a:r>
            <a:r>
              <a:rPr kumimoji="0" sz="1200" i="0" u="none" strike="noStrike" kern="1200" cap="none" spc="-615" normalizeH="0" baseline="20833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т</a:t>
            </a:r>
            <a:r>
              <a:rPr kumimoji="0" sz="1200" i="0" u="none" strike="noStrike" kern="1200" cap="none" spc="-569" normalizeH="0" baseline="3472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с</a:t>
            </a:r>
            <a:r>
              <a:rPr kumimoji="0" sz="1200" i="0" u="none" strike="noStrike" kern="1200" cap="none" spc="0" normalizeH="0" baseline="-10416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е</a:t>
            </a:r>
            <a:endParaRPr kumimoji="0" sz="1200" i="0" u="none" strike="noStrike" kern="1200" cap="none" spc="0" normalizeH="0" baseline="-10416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  <a:p>
            <a:pPr marL="335280" marR="1560830" lvl="0" indent="-73660" algn="l" defTabSz="914400" rtl="0" eaLnBrk="1" fontAlgn="auto" latinLnBrk="0" hangingPunct="1">
              <a:lnSpc>
                <a:spcPct val="33600"/>
              </a:lnSpc>
              <a:spcBef>
                <a:spcPts val="34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i="0" u="none" strike="noStrike" kern="1200" cap="none" spc="0" normalizeH="0" baseline="10416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л </a:t>
            </a:r>
            <a:r>
              <a:rPr kumimoji="0" sz="1200" i="0" u="none" strike="noStrike" kern="1200" cap="none" spc="112" normalizeH="0" baseline="10416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 </a:t>
            </a:r>
            <a:r>
              <a:rPr kumimoji="0" sz="1200" i="0" u="none" strike="noStrike" kern="1200" cap="none" spc="-667" normalizeH="0" baseline="6944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о</a:t>
            </a:r>
            <a:r>
              <a:rPr kumimoji="0" sz="1200" i="0" u="none" strike="noStrike" kern="1200" cap="none" spc="0" normalizeH="0" baseline="-13888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и  </a:t>
            </a:r>
            <a:r>
              <a:rPr kumimoji="0" sz="1200" i="0" u="none" strike="noStrike" kern="1200" cap="none" spc="-179" normalizeH="0" baseline="-13888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 </a:t>
            </a:r>
            <a:r>
              <a:rPr kumimoji="0" sz="800" i="0" u="none" strike="noStrike" kern="1200" cap="none" spc="-3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р</a:t>
            </a:r>
            <a:r>
              <a:rPr kumimoji="0" sz="1200" i="0" u="none" strike="noStrike" kern="1200" cap="none" spc="0" normalizeH="0" baseline="-13888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п      </a:t>
            </a:r>
            <a:r>
              <a:rPr kumimoji="0" sz="8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е</a:t>
            </a:r>
            <a:endParaRPr kumimoji="0" sz="8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47" name="object 47"/>
          <p:cNvSpPr txBox="1"/>
          <p:nvPr/>
        </p:nvSpPr>
        <p:spPr>
          <a:xfrm rot="18000000">
            <a:off x="4774117" y="3497601"/>
            <a:ext cx="134609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у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48" name="object 48"/>
          <p:cNvSpPr txBox="1"/>
          <p:nvPr/>
        </p:nvSpPr>
        <p:spPr>
          <a:xfrm rot="17820000">
            <a:off x="4740692" y="3555525"/>
            <a:ext cx="138227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р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49" name="object 49"/>
          <p:cNvSpPr txBox="1"/>
          <p:nvPr/>
        </p:nvSpPr>
        <p:spPr>
          <a:xfrm rot="17700000">
            <a:off x="4716525" y="3609696"/>
            <a:ext cx="130496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т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50" name="object 50"/>
          <p:cNvSpPr txBox="1"/>
          <p:nvPr/>
        </p:nvSpPr>
        <p:spPr>
          <a:xfrm rot="17520000">
            <a:off x="4680385" y="3689325"/>
            <a:ext cx="133757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а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51" name="object 51"/>
          <p:cNvSpPr txBox="1"/>
          <p:nvPr/>
        </p:nvSpPr>
        <p:spPr>
          <a:xfrm rot="17340000">
            <a:off x="4658850" y="3746658"/>
            <a:ext cx="133188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к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52" name="object 52"/>
          <p:cNvSpPr txBox="1"/>
          <p:nvPr/>
        </p:nvSpPr>
        <p:spPr>
          <a:xfrm rot="17160000">
            <a:off x="4637617" y="3805479"/>
            <a:ext cx="136377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н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53" name="object 53"/>
          <p:cNvSpPr txBox="1"/>
          <p:nvPr/>
        </p:nvSpPr>
        <p:spPr>
          <a:xfrm rot="17040000">
            <a:off x="4615613" y="3875214"/>
            <a:ext cx="143359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ы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54" name="object 54"/>
          <p:cNvSpPr txBox="1"/>
          <p:nvPr/>
        </p:nvSpPr>
        <p:spPr>
          <a:xfrm rot="16860000">
            <a:off x="4601557" y="3947505"/>
            <a:ext cx="138227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р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55" name="object 55"/>
          <p:cNvSpPr txBox="1"/>
          <p:nvPr/>
        </p:nvSpPr>
        <p:spPr>
          <a:xfrm rot="16620000">
            <a:off x="4588788" y="4043990"/>
            <a:ext cx="134609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е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56" name="object 56"/>
          <p:cNvSpPr txBox="1"/>
          <p:nvPr/>
        </p:nvSpPr>
        <p:spPr>
          <a:xfrm rot="16620000">
            <a:off x="4683421" y="4073355"/>
            <a:ext cx="135818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н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57" name="object 57"/>
          <p:cNvSpPr txBox="1"/>
          <p:nvPr/>
        </p:nvSpPr>
        <p:spPr>
          <a:xfrm rot="16500000">
            <a:off x="4581492" y="4107467"/>
            <a:ext cx="136122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и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58" name="object 58"/>
          <p:cNvSpPr txBox="1"/>
          <p:nvPr/>
        </p:nvSpPr>
        <p:spPr>
          <a:xfrm rot="16320000">
            <a:off x="4580542" y="4166857"/>
            <a:ext cx="130572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т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69" name="object 69"/>
          <p:cNvSpPr txBox="1"/>
          <p:nvPr/>
        </p:nvSpPr>
        <p:spPr>
          <a:xfrm>
            <a:off x="4589063" y="4221618"/>
            <a:ext cx="314960" cy="11112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36195" marR="5080" lvl="0" indent="-24130" algn="just" defTabSz="914400" rtl="0" eaLnBrk="1" fontAlgn="auto" latinLnBrk="0" hangingPunct="1">
              <a:lnSpc>
                <a:spcPct val="7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и к к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70" name="object 70"/>
          <p:cNvSpPr txBox="1"/>
          <p:nvPr/>
        </p:nvSpPr>
        <p:spPr>
          <a:xfrm rot="15960000">
            <a:off x="4567070" y="4315809"/>
            <a:ext cx="163964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з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в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71" name="object 71"/>
          <p:cNvSpPr txBox="1"/>
          <p:nvPr/>
        </p:nvSpPr>
        <p:spPr>
          <a:xfrm rot="15840000">
            <a:off x="4590366" y="4402729"/>
            <a:ext cx="133756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а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72" name="object 72"/>
          <p:cNvSpPr txBox="1"/>
          <p:nvPr/>
        </p:nvSpPr>
        <p:spPr>
          <a:xfrm rot="15600000">
            <a:off x="4599260" y="4467477"/>
            <a:ext cx="137993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Р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73" name="object 73"/>
          <p:cNvSpPr txBox="1"/>
          <p:nvPr/>
        </p:nvSpPr>
        <p:spPr>
          <a:xfrm rot="17640000">
            <a:off x="4786295" y="3695156"/>
            <a:ext cx="133757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с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74" name="object 74"/>
          <p:cNvSpPr txBox="1"/>
          <p:nvPr/>
        </p:nvSpPr>
        <p:spPr>
          <a:xfrm rot="17640000">
            <a:off x="4860022" y="3738976"/>
            <a:ext cx="137048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о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75" name="object 75"/>
          <p:cNvSpPr txBox="1"/>
          <p:nvPr/>
        </p:nvSpPr>
        <p:spPr>
          <a:xfrm rot="17460000">
            <a:off x="4761874" y="3752058"/>
            <a:ext cx="134333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е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76" name="object 76"/>
          <p:cNvSpPr txBox="1"/>
          <p:nvPr/>
        </p:nvSpPr>
        <p:spPr>
          <a:xfrm rot="17280000">
            <a:off x="4742009" y="3809563"/>
            <a:ext cx="134039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ч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77" name="object 77"/>
          <p:cNvSpPr txBox="1"/>
          <p:nvPr/>
        </p:nvSpPr>
        <p:spPr>
          <a:xfrm rot="17280000">
            <a:off x="4826939" y="3829317"/>
            <a:ext cx="133470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х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78" name="object 78"/>
          <p:cNvSpPr txBox="1"/>
          <p:nvPr/>
        </p:nvSpPr>
        <p:spPr>
          <a:xfrm rot="17100000">
            <a:off x="4722630" y="3870992"/>
            <a:ext cx="136076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и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79" name="object 79"/>
          <p:cNvSpPr txBox="1"/>
          <p:nvPr/>
        </p:nvSpPr>
        <p:spPr>
          <a:xfrm rot="17100000">
            <a:off x="4801915" y="3896211"/>
            <a:ext cx="142660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ы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80" name="object 80"/>
          <p:cNvSpPr txBox="1"/>
          <p:nvPr/>
        </p:nvSpPr>
        <p:spPr>
          <a:xfrm rot="16920000">
            <a:off x="4703278" y="3938586"/>
            <a:ext cx="139613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м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81" name="object 81"/>
          <p:cNvSpPr txBox="1"/>
          <p:nvPr/>
        </p:nvSpPr>
        <p:spPr>
          <a:xfrm rot="16920000">
            <a:off x="4788314" y="3965982"/>
            <a:ext cx="136076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н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82" name="object 82"/>
          <p:cNvSpPr txBox="1"/>
          <p:nvPr/>
        </p:nvSpPr>
        <p:spPr>
          <a:xfrm rot="16740000">
            <a:off x="4691643" y="4007618"/>
            <a:ext cx="136984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о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83" name="object 83"/>
          <p:cNvSpPr txBox="1"/>
          <p:nvPr/>
        </p:nvSpPr>
        <p:spPr>
          <a:xfrm rot="16740000">
            <a:off x="4777391" y="4028960"/>
            <a:ext cx="134323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в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84" name="object 84"/>
          <p:cNvSpPr txBox="1"/>
          <p:nvPr/>
        </p:nvSpPr>
        <p:spPr>
          <a:xfrm rot="16380000">
            <a:off x="4677120" y="4140627"/>
            <a:ext cx="136984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о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85" name="object 85"/>
          <p:cNvSpPr txBox="1"/>
          <p:nvPr/>
        </p:nvSpPr>
        <p:spPr>
          <a:xfrm rot="16080000">
            <a:off x="4677178" y="4263401"/>
            <a:ext cx="133757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э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86" name="object 86"/>
          <p:cNvSpPr txBox="1"/>
          <p:nvPr/>
        </p:nvSpPr>
        <p:spPr>
          <a:xfrm rot="16080000">
            <a:off x="4765763" y="4268276"/>
            <a:ext cx="134333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е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87" name="object 87"/>
          <p:cNvSpPr txBox="1"/>
          <p:nvPr/>
        </p:nvSpPr>
        <p:spPr>
          <a:xfrm rot="12960000">
            <a:off x="5188811" y="5382126"/>
            <a:ext cx="136679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и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88" name="object 88"/>
          <p:cNvSpPr txBox="1"/>
          <p:nvPr/>
        </p:nvSpPr>
        <p:spPr>
          <a:xfrm rot="12840000">
            <a:off x="5243493" y="5417654"/>
            <a:ext cx="136122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н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89" name="object 89"/>
          <p:cNvSpPr txBox="1"/>
          <p:nvPr/>
        </p:nvSpPr>
        <p:spPr>
          <a:xfrm rot="12660000">
            <a:off x="5299290" y="5451501"/>
            <a:ext cx="134625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е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90" name="object 90"/>
          <p:cNvSpPr txBox="1"/>
          <p:nvPr/>
        </p:nvSpPr>
        <p:spPr>
          <a:xfrm rot="12660000">
            <a:off x="5359824" y="5362716"/>
            <a:ext cx="133756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с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91" name="object 91"/>
          <p:cNvSpPr txBox="1"/>
          <p:nvPr/>
        </p:nvSpPr>
        <p:spPr>
          <a:xfrm rot="12420000">
            <a:off x="5360346" y="5487750"/>
            <a:ext cx="151541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ш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92" name="object 92"/>
          <p:cNvSpPr txBox="1"/>
          <p:nvPr/>
        </p:nvSpPr>
        <p:spPr>
          <a:xfrm rot="12420000">
            <a:off x="5412713" y="5392000"/>
            <a:ext cx="133478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с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93" name="object 93"/>
          <p:cNvSpPr txBox="1"/>
          <p:nvPr/>
        </p:nvSpPr>
        <p:spPr>
          <a:xfrm rot="12300000">
            <a:off x="5443011" y="5524302"/>
            <a:ext cx="143359" cy="11874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3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ы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94" name="object 94"/>
          <p:cNvSpPr txBox="1"/>
          <p:nvPr/>
        </p:nvSpPr>
        <p:spPr>
          <a:xfrm rot="12300000">
            <a:off x="5468233" y="5417684"/>
            <a:ext cx="134625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е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95" name="object 95"/>
          <p:cNvSpPr txBox="1"/>
          <p:nvPr/>
        </p:nvSpPr>
        <p:spPr>
          <a:xfrm rot="12180000">
            <a:off x="5511817" y="5550445"/>
            <a:ext cx="134333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в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96" name="object 96"/>
          <p:cNvSpPr txBox="1"/>
          <p:nvPr/>
        </p:nvSpPr>
        <p:spPr>
          <a:xfrm rot="11940000">
            <a:off x="5572942" y="5571495"/>
            <a:ext cx="137048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о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97" name="object 97"/>
          <p:cNvSpPr txBox="1"/>
          <p:nvPr/>
        </p:nvSpPr>
        <p:spPr>
          <a:xfrm rot="11940000">
            <a:off x="5612521" y="5472884"/>
            <a:ext cx="136737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о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98" name="object 98"/>
          <p:cNvSpPr txBox="1"/>
          <p:nvPr/>
        </p:nvSpPr>
        <p:spPr>
          <a:xfrm rot="11760000">
            <a:off x="5639808" y="5591562"/>
            <a:ext cx="142313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П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99" name="object 99"/>
          <p:cNvSpPr txBox="1"/>
          <p:nvPr/>
        </p:nvSpPr>
        <p:spPr>
          <a:xfrm rot="12120000">
            <a:off x="5530512" y="5446998"/>
            <a:ext cx="149733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ф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100" name="object 100"/>
          <p:cNvSpPr txBox="1"/>
          <p:nvPr/>
        </p:nvSpPr>
        <p:spPr>
          <a:xfrm rot="11580000">
            <a:off x="5679866" y="5492378"/>
            <a:ext cx="137913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р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101" name="object 101"/>
          <p:cNvSpPr txBox="1"/>
          <p:nvPr/>
        </p:nvSpPr>
        <p:spPr>
          <a:xfrm rot="11460000">
            <a:off x="5746545" y="5506486"/>
            <a:ext cx="135517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п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102" name="object 102"/>
          <p:cNvSpPr txBox="1"/>
          <p:nvPr/>
        </p:nvSpPr>
        <p:spPr>
          <a:xfrm rot="18960000">
            <a:off x="5104497" y="3378015"/>
            <a:ext cx="136428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й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103" name="object 103"/>
          <p:cNvSpPr txBox="1"/>
          <p:nvPr/>
        </p:nvSpPr>
        <p:spPr>
          <a:xfrm rot="18780000">
            <a:off x="5061597" y="3425480"/>
            <a:ext cx="134333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е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104" name="object 104"/>
          <p:cNvSpPr txBox="1"/>
          <p:nvPr/>
        </p:nvSpPr>
        <p:spPr>
          <a:xfrm rot="18600000">
            <a:off x="5019708" y="3472796"/>
            <a:ext cx="135482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л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105" name="object 105"/>
          <p:cNvSpPr txBox="1"/>
          <p:nvPr/>
        </p:nvSpPr>
        <p:spPr>
          <a:xfrm rot="18300000">
            <a:off x="4982145" y="3524369"/>
            <a:ext cx="133470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с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106" name="object 106"/>
          <p:cNvSpPr txBox="1"/>
          <p:nvPr/>
        </p:nvSpPr>
        <p:spPr>
          <a:xfrm rot="18120000">
            <a:off x="4948477" y="3574534"/>
            <a:ext cx="133756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а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107" name="object 107"/>
          <p:cNvSpPr txBox="1"/>
          <p:nvPr/>
        </p:nvSpPr>
        <p:spPr>
          <a:xfrm rot="17940000">
            <a:off x="4913615" y="3630424"/>
            <a:ext cx="138227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р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108" name="object 108"/>
          <p:cNvSpPr txBox="1"/>
          <p:nvPr/>
        </p:nvSpPr>
        <p:spPr>
          <a:xfrm rot="17760000">
            <a:off x="4888877" y="3684121"/>
            <a:ext cx="130572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т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109" name="object 109"/>
          <p:cNvSpPr txBox="1"/>
          <p:nvPr/>
        </p:nvSpPr>
        <p:spPr>
          <a:xfrm rot="16560000">
            <a:off x="4769107" y="4092465"/>
            <a:ext cx="136076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и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110" name="object 110"/>
          <p:cNvSpPr txBox="1"/>
          <p:nvPr/>
        </p:nvSpPr>
        <p:spPr>
          <a:xfrm rot="16440000">
            <a:off x="4766876" y="4151984"/>
            <a:ext cx="130496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т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111" name="object 111"/>
          <p:cNvSpPr txBox="1"/>
          <p:nvPr/>
        </p:nvSpPr>
        <p:spPr>
          <a:xfrm rot="15900000">
            <a:off x="4769051" y="4331919"/>
            <a:ext cx="135517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п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112" name="object 112"/>
          <p:cNvSpPr txBox="1"/>
          <p:nvPr/>
        </p:nvSpPr>
        <p:spPr>
          <a:xfrm rot="15720000">
            <a:off x="4778494" y="4394446"/>
            <a:ext cx="133757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с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113" name="object 113"/>
          <p:cNvSpPr txBox="1"/>
          <p:nvPr/>
        </p:nvSpPr>
        <p:spPr>
          <a:xfrm rot="15540000">
            <a:off x="4788454" y="4458036"/>
            <a:ext cx="138227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р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114" name="object 114"/>
          <p:cNvSpPr txBox="1"/>
          <p:nvPr/>
        </p:nvSpPr>
        <p:spPr>
          <a:xfrm rot="15360000">
            <a:off x="4805187" y="4522595"/>
            <a:ext cx="134609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е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115" name="object 115"/>
          <p:cNvSpPr txBox="1"/>
          <p:nvPr/>
        </p:nvSpPr>
        <p:spPr>
          <a:xfrm rot="15180000">
            <a:off x="4822819" y="4583189"/>
            <a:ext cx="135778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п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154" name="object 154"/>
          <p:cNvSpPr txBox="1"/>
          <p:nvPr/>
        </p:nvSpPr>
        <p:spPr>
          <a:xfrm>
            <a:off x="5271981" y="6283855"/>
            <a:ext cx="1254125" cy="101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МОТИВАЦИЯ УЧАСТИЯ   </a:t>
            </a:r>
            <a:r>
              <a:rPr kumimoji="0" sz="600" b="1" i="0" u="none" strike="noStrike" kern="1200" cap="none" spc="7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 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МКО</a:t>
            </a:r>
            <a:endParaRPr kumimoji="0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155" name="object 155"/>
          <p:cNvSpPr txBox="1"/>
          <p:nvPr/>
        </p:nvSpPr>
        <p:spPr>
          <a:xfrm>
            <a:off x="5123927" y="6483033"/>
            <a:ext cx="2159635" cy="101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ПОЛУЧАЕМЫЙ РЕЗУЛЬТАТ ОТ УЧАСТИЯ (ПРОДУКТ)</a:t>
            </a:r>
            <a:endParaRPr kumimoji="0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168" name="object 168"/>
          <p:cNvSpPr txBox="1"/>
          <p:nvPr/>
        </p:nvSpPr>
        <p:spPr>
          <a:xfrm>
            <a:off x="1109026" y="2505552"/>
            <a:ext cx="2788947" cy="3334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600075" algn="l" defTabSz="914400" rtl="0" eaLnBrk="1" fontAlgn="auto" latinLnBrk="0" hangingPunct="1">
              <a:lnSpc>
                <a:spcPts val="131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Реализация государственных проектов в рамках программ развития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169" name="object 169"/>
          <p:cNvSpPr txBox="1"/>
          <p:nvPr/>
        </p:nvSpPr>
        <p:spPr>
          <a:xfrm>
            <a:off x="1230222" y="2957106"/>
            <a:ext cx="2444038" cy="33430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42875" marR="5080" lvl="0" indent="-130810" algn="l" defTabSz="914400" rtl="0" eaLnBrk="1" fontAlgn="auto" latinLnBrk="0" hangingPunct="1">
              <a:lnSpc>
                <a:spcPts val="131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Модели содействия занятости и профессионального развития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170" name="object 170"/>
          <p:cNvSpPr txBox="1"/>
          <p:nvPr/>
        </p:nvSpPr>
        <p:spPr>
          <a:xfrm>
            <a:off x="1433611" y="3409542"/>
            <a:ext cx="2529576" cy="3334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84505" marR="5080" lvl="0" indent="-472440" algn="l" defTabSz="914400" rtl="0" eaLnBrk="1" fontAlgn="auto" latinLnBrk="0" hangingPunct="1">
              <a:lnSpc>
                <a:spcPts val="131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Стратегически значимые отрасли экономического развития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171" name="object 171"/>
          <p:cNvSpPr txBox="1"/>
          <p:nvPr/>
        </p:nvSpPr>
        <p:spPr>
          <a:xfrm>
            <a:off x="1195123" y="3868776"/>
            <a:ext cx="2843055" cy="50013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59055" algn="r" defTabSz="914400" rtl="0" eaLnBrk="1" fontAlgn="auto" latinLnBrk="0" hangingPunct="1">
              <a:lnSpc>
                <a:spcPts val="131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Пилотные проекты формирования и развития  наукоемкого производства в интересах госкорпораций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196" name="object 196"/>
          <p:cNvSpPr txBox="1"/>
          <p:nvPr/>
        </p:nvSpPr>
        <p:spPr>
          <a:xfrm>
            <a:off x="645390" y="2828108"/>
            <a:ext cx="139700" cy="952500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ГОСУДАРСТВО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197" name="object 197"/>
          <p:cNvSpPr txBox="1"/>
          <p:nvPr/>
        </p:nvSpPr>
        <p:spPr>
          <a:xfrm>
            <a:off x="8562183" y="2447257"/>
            <a:ext cx="260477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Проектная деятельность обучающихся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198" name="object 198"/>
          <p:cNvSpPr txBox="1"/>
          <p:nvPr/>
        </p:nvSpPr>
        <p:spPr>
          <a:xfrm>
            <a:off x="8562183" y="2808435"/>
            <a:ext cx="2748030" cy="71814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ts val="14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Программы опережающего развития актуальных компетенций (формирование новых востребованных квалификаций)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199" name="object 199"/>
          <p:cNvSpPr txBox="1"/>
          <p:nvPr/>
        </p:nvSpPr>
        <p:spPr>
          <a:xfrm>
            <a:off x="8562183" y="3530796"/>
            <a:ext cx="2598187" cy="5386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ts val="14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Научно-исследовательские и инновационные проекты с потенциалом коммерциализации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200" name="object 200"/>
          <p:cNvSpPr txBox="1"/>
          <p:nvPr/>
        </p:nvSpPr>
        <p:spPr>
          <a:xfrm>
            <a:off x="8562183" y="4253149"/>
            <a:ext cx="2710580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Инновации под заказ (сегмент B2B и B2G)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225" name="object 225"/>
          <p:cNvSpPr txBox="1"/>
          <p:nvPr/>
        </p:nvSpPr>
        <p:spPr>
          <a:xfrm>
            <a:off x="11460949" y="2861409"/>
            <a:ext cx="269240" cy="97345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 marR="5080" lvl="0" indent="175260" algn="l" defTabSz="914400" rtl="0" eaLnBrk="1" fontAlgn="auto" latinLnBrk="0" hangingPunct="1">
              <a:lnSpc>
                <a:spcPts val="101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СИСТЕМА ОБРАЗОВАНИЯ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226" name="object 226"/>
          <p:cNvSpPr txBox="1"/>
          <p:nvPr/>
        </p:nvSpPr>
        <p:spPr>
          <a:xfrm>
            <a:off x="919634" y="4725255"/>
            <a:ext cx="3420969" cy="13994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612140" algn="l" defTabSz="914400" rtl="0" eaLnBrk="1" fontAlgn="auto" latinLnBrk="0" hangingPunct="1">
              <a:lnSpc>
                <a:spcPct val="1258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Определение карьерной траектории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151616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  <a:p>
            <a:pPr marL="12700" marR="5080" lvl="0" indent="612140" algn="l" defTabSz="914400" rtl="0" eaLnBrk="1" fontAlgn="auto" latinLnBrk="0" hangingPunct="1">
              <a:lnSpc>
                <a:spcPct val="1258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 Позиционирование в проектной деятельности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  <a:p>
            <a:pPr marL="889635" marR="5080" lvl="0" indent="55880" algn="l" defTabSz="914400" rtl="0" eaLnBrk="1" fontAlgn="auto" latinLnBrk="0" hangingPunct="1">
              <a:lnSpc>
                <a:spcPct val="1258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Самореализация/самозанятость Выработка проектных инициатив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  <a:p>
            <a:pPr marL="90805" marR="0" lvl="0" indent="0" algn="l" defTabSz="914400" rtl="0" eaLnBrk="1" fontAlgn="auto" latinLnBrk="0" hangingPunct="1">
              <a:lnSpc>
                <a:spcPct val="100000"/>
              </a:lnSpc>
              <a:spcBef>
                <a:spcPts val="3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Смена вида профессиональной деятельности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250" name="object 250"/>
          <p:cNvSpPr txBox="1"/>
          <p:nvPr/>
        </p:nvSpPr>
        <p:spPr>
          <a:xfrm>
            <a:off x="575953" y="5216695"/>
            <a:ext cx="269240" cy="1043940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 marR="5080" lvl="0" indent="206375" algn="l" defTabSz="914400" rtl="0" eaLnBrk="1" fontAlgn="auto" latinLnBrk="0" hangingPunct="1">
              <a:lnSpc>
                <a:spcPts val="101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ЧАСТНЫЕ ПОЛЬЗОВАТЕЛИ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271" name="object 271"/>
          <p:cNvSpPr txBox="1"/>
          <p:nvPr/>
        </p:nvSpPr>
        <p:spPr>
          <a:xfrm>
            <a:off x="4002689" y="1024152"/>
            <a:ext cx="4366611" cy="12549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133985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БИЗНЕС-СООБЩЕСТВО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Times New Roman"/>
            </a:endParaRPr>
          </a:p>
          <a:p>
            <a:pPr marL="12065" marR="5080" lvl="0" indent="0" algn="ctr" defTabSz="914400" rtl="0" eaLnBrk="1" fontAlgn="auto" latinLnBrk="0" hangingPunct="1">
              <a:lnSpc>
                <a:spcPct val="11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Локализованное в рамках текущего бизнеса проектное решение 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151616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  <a:p>
            <a:pPr marL="12065" marR="5080" lvl="0" indent="0" algn="ctr" defTabSz="914400" rtl="0" eaLnBrk="1" fontAlgn="auto" latinLnBrk="0" hangingPunct="1">
              <a:lnSpc>
                <a:spcPct val="11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Диверсификация/развитие бизнеса и/или реинжиниринг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  <a:p>
            <a:pPr marL="462915" marR="605790" lvl="0" indent="0" algn="ctr" defTabSz="914400" rtl="0" eaLnBrk="1" fontAlgn="auto" latinLnBrk="0" hangingPunct="1">
              <a:lnSpc>
                <a:spcPct val="74900"/>
              </a:lnSpc>
              <a:spcBef>
                <a:spcPts val="4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Разовый запрос продукции изделия с индивидуальной потребительской полезностью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  <a:p>
            <a:pPr marL="0" marR="86995" lvl="0" indent="0" algn="ctr" defTabSz="914400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Организация нового бизнеса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278" name="object 278"/>
          <p:cNvSpPr txBox="1"/>
          <p:nvPr/>
        </p:nvSpPr>
        <p:spPr>
          <a:xfrm>
            <a:off x="1042456" y="6609455"/>
            <a:ext cx="3355975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526CA2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МКО - модель кадрового обеспечения, ИК - инжиниринговая команда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279" name="object 279"/>
          <p:cNvSpPr txBox="1"/>
          <p:nvPr/>
        </p:nvSpPr>
        <p:spPr>
          <a:xfrm>
            <a:off x="11466555" y="5347150"/>
            <a:ext cx="269240" cy="788670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65405" marR="5080" lvl="0" indent="-53340" algn="l" defTabSz="914400" rtl="0" eaLnBrk="1" fontAlgn="auto" latinLnBrk="0" hangingPunct="1">
              <a:lnSpc>
                <a:spcPts val="101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ИНСТИТУТЫ РАЗВИТИЯ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285" name="object 285"/>
          <p:cNvSpPr txBox="1"/>
          <p:nvPr/>
        </p:nvSpPr>
        <p:spPr>
          <a:xfrm>
            <a:off x="5408755" y="3985647"/>
            <a:ext cx="1425575" cy="5975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ts val="530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4500" b="1" i="0" u="none" strike="noStrike" kern="1200" cap="none" spc="0" normalizeH="0" baseline="0" noProof="0" dirty="0">
                <a:ln>
                  <a:noFill/>
                </a:ln>
                <a:solidFill>
                  <a:srgbClr val="0E9ED1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МКО</a:t>
            </a:r>
            <a:endParaRPr kumimoji="0" sz="4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287" name="object 287"/>
          <p:cNvSpPr txBox="1"/>
          <p:nvPr/>
        </p:nvSpPr>
        <p:spPr>
          <a:xfrm rot="19800000">
            <a:off x="5279084" y="3010315"/>
            <a:ext cx="142313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Д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288" name="object 288"/>
          <p:cNvSpPr txBox="1"/>
          <p:nvPr/>
        </p:nvSpPr>
        <p:spPr>
          <a:xfrm rot="19920000">
            <a:off x="5340492" y="2977819"/>
            <a:ext cx="136122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и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289" name="object 289"/>
          <p:cNvSpPr txBox="1"/>
          <p:nvPr/>
        </p:nvSpPr>
        <p:spPr>
          <a:xfrm rot="20100000">
            <a:off x="5393189" y="2950894"/>
            <a:ext cx="134333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в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290" name="object 290"/>
          <p:cNvSpPr txBox="1"/>
          <p:nvPr/>
        </p:nvSpPr>
        <p:spPr>
          <a:xfrm rot="20100000">
            <a:off x="5445590" y="3043341"/>
            <a:ext cx="135517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п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291" name="object 291"/>
          <p:cNvSpPr txBox="1"/>
          <p:nvPr/>
        </p:nvSpPr>
        <p:spPr>
          <a:xfrm rot="20280000">
            <a:off x="5444661" y="2927363"/>
            <a:ext cx="134609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е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292" name="object 292"/>
          <p:cNvSpPr txBox="1"/>
          <p:nvPr/>
        </p:nvSpPr>
        <p:spPr>
          <a:xfrm rot="20280000">
            <a:off x="5505949" y="3016051"/>
            <a:ext cx="137676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р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293" name="object 293"/>
          <p:cNvSpPr txBox="1"/>
          <p:nvPr/>
        </p:nvSpPr>
        <p:spPr>
          <a:xfrm rot="20460000">
            <a:off x="5507992" y="2895969"/>
            <a:ext cx="170634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-4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р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с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294" name="object 294"/>
          <p:cNvSpPr txBox="1"/>
          <p:nvPr/>
        </p:nvSpPr>
        <p:spPr>
          <a:xfrm rot="20460000">
            <a:off x="5570045" y="2992294"/>
            <a:ext cx="136122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и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295" name="object 295"/>
          <p:cNvSpPr txBox="1"/>
          <p:nvPr/>
        </p:nvSpPr>
        <p:spPr>
          <a:xfrm rot="20640000">
            <a:off x="5609847" y="2868436"/>
            <a:ext cx="136428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и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296" name="object 296"/>
          <p:cNvSpPr txBox="1"/>
          <p:nvPr/>
        </p:nvSpPr>
        <p:spPr>
          <a:xfrm rot="20760000">
            <a:off x="5673851" y="2849497"/>
            <a:ext cx="149733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ф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297" name="object 297"/>
          <p:cNvSpPr txBox="1"/>
          <p:nvPr/>
        </p:nvSpPr>
        <p:spPr>
          <a:xfrm rot="20760000">
            <a:off x="5701380" y="2953149"/>
            <a:ext cx="143192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ы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298" name="object 298"/>
          <p:cNvSpPr txBox="1"/>
          <p:nvPr/>
        </p:nvSpPr>
        <p:spPr>
          <a:xfrm rot="20880000">
            <a:off x="5751746" y="2833645"/>
            <a:ext cx="136377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и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299" name="object 299"/>
          <p:cNvSpPr txBox="1"/>
          <p:nvPr/>
        </p:nvSpPr>
        <p:spPr>
          <a:xfrm rot="21120000">
            <a:off x="5810250" y="2824345"/>
            <a:ext cx="133188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к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00" name="object 300"/>
          <p:cNvSpPr txBox="1"/>
          <p:nvPr/>
        </p:nvSpPr>
        <p:spPr>
          <a:xfrm rot="21120000">
            <a:off x="5778237" y="2938265"/>
            <a:ext cx="135217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л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01" name="object 301"/>
          <p:cNvSpPr txBox="1"/>
          <p:nvPr/>
        </p:nvSpPr>
        <p:spPr>
          <a:xfrm rot="21300000">
            <a:off x="5865002" y="2818212"/>
            <a:ext cx="133756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а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02" name="object 302"/>
          <p:cNvSpPr txBox="1"/>
          <p:nvPr/>
        </p:nvSpPr>
        <p:spPr>
          <a:xfrm rot="21300000">
            <a:off x="5838567" y="2929739"/>
            <a:ext cx="132081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ь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03" name="object 303"/>
          <p:cNvSpPr txBox="1"/>
          <p:nvPr/>
        </p:nvSpPr>
        <p:spPr>
          <a:xfrm rot="21420000">
            <a:off x="5921199" y="2813582"/>
            <a:ext cx="136122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ц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04" name="object 304"/>
          <p:cNvSpPr txBox="1"/>
          <p:nvPr/>
        </p:nvSpPr>
        <p:spPr>
          <a:xfrm rot="21420000">
            <a:off x="5897308" y="2923295"/>
            <a:ext cx="135818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н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05" name="object 305"/>
          <p:cNvSpPr txBox="1"/>
          <p:nvPr/>
        </p:nvSpPr>
        <p:spPr>
          <a:xfrm>
            <a:off x="5985604" y="2814380"/>
            <a:ext cx="109855" cy="2381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18415" algn="l" defTabSz="914400" rtl="0" eaLnBrk="1" fontAlgn="auto" latinLnBrk="0" hangingPunct="1">
              <a:lnSpc>
                <a:spcPts val="86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и о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06" name="object 306"/>
          <p:cNvSpPr txBox="1"/>
          <p:nvPr/>
        </p:nvSpPr>
        <p:spPr>
          <a:xfrm rot="60000">
            <a:off x="6040864" y="2808429"/>
            <a:ext cx="134609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я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07" name="object 307"/>
          <p:cNvSpPr txBox="1"/>
          <p:nvPr/>
        </p:nvSpPr>
        <p:spPr>
          <a:xfrm rot="60000">
            <a:off x="6028359" y="2918742"/>
            <a:ext cx="134608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с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08" name="object 308"/>
          <p:cNvSpPr txBox="1"/>
          <p:nvPr/>
        </p:nvSpPr>
        <p:spPr>
          <a:xfrm rot="300000">
            <a:off x="6128947" y="2812587"/>
            <a:ext cx="136377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и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09" name="object 309"/>
          <p:cNvSpPr txBox="1"/>
          <p:nvPr/>
        </p:nvSpPr>
        <p:spPr>
          <a:xfrm rot="420000">
            <a:off x="6218044" y="2822889"/>
            <a:ext cx="134323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у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10" name="object 310"/>
          <p:cNvSpPr txBox="1"/>
          <p:nvPr/>
        </p:nvSpPr>
        <p:spPr>
          <a:xfrm rot="420000">
            <a:off x="6142691" y="2925856"/>
            <a:ext cx="136377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и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11" name="object 311"/>
          <p:cNvSpPr txBox="1"/>
          <p:nvPr/>
        </p:nvSpPr>
        <p:spPr>
          <a:xfrm rot="660000">
            <a:off x="6275791" y="2831878"/>
            <a:ext cx="134323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в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12" name="object 312"/>
          <p:cNvSpPr txBox="1"/>
          <p:nvPr/>
        </p:nvSpPr>
        <p:spPr>
          <a:xfrm rot="780000">
            <a:off x="6330366" y="2843285"/>
            <a:ext cx="134609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е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13" name="object 313"/>
          <p:cNvSpPr txBox="1"/>
          <p:nvPr/>
        </p:nvSpPr>
        <p:spPr>
          <a:xfrm rot="780000">
            <a:off x="6305081" y="2955469"/>
            <a:ext cx="136377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и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14" name="object 314"/>
          <p:cNvSpPr txBox="1"/>
          <p:nvPr/>
        </p:nvSpPr>
        <p:spPr>
          <a:xfrm rot="960000">
            <a:off x="6395860" y="2866086"/>
            <a:ext cx="171986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-4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л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и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15" name="object 315"/>
          <p:cNvSpPr txBox="1"/>
          <p:nvPr/>
        </p:nvSpPr>
        <p:spPr>
          <a:xfrm rot="960000">
            <a:off x="6366353" y="2970810"/>
            <a:ext cx="131077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з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16" name="object 316"/>
          <p:cNvSpPr txBox="1"/>
          <p:nvPr/>
        </p:nvSpPr>
        <p:spPr>
          <a:xfrm rot="1020000">
            <a:off x="6496499" y="2890462"/>
            <a:ext cx="134890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ч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17" name="object 317"/>
          <p:cNvSpPr txBox="1"/>
          <p:nvPr/>
        </p:nvSpPr>
        <p:spPr>
          <a:xfrm rot="1260000">
            <a:off x="6549327" y="2910532"/>
            <a:ext cx="135753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е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18" name="object 318"/>
          <p:cNvSpPr txBox="1"/>
          <p:nvPr/>
        </p:nvSpPr>
        <p:spPr>
          <a:xfrm rot="1260000">
            <a:off x="6480097" y="3011112"/>
            <a:ext cx="135463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е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19" name="object 319"/>
          <p:cNvSpPr txBox="1"/>
          <p:nvPr/>
        </p:nvSpPr>
        <p:spPr>
          <a:xfrm rot="1440000">
            <a:off x="6602292" y="2933899"/>
            <a:ext cx="136377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н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20" name="object 320"/>
          <p:cNvSpPr txBox="1"/>
          <p:nvPr/>
        </p:nvSpPr>
        <p:spPr>
          <a:xfrm rot="1440000">
            <a:off x="6537008" y="3034819"/>
            <a:ext cx="133757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с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21" name="object 321"/>
          <p:cNvSpPr txBox="1"/>
          <p:nvPr/>
        </p:nvSpPr>
        <p:spPr>
          <a:xfrm rot="1560000">
            <a:off x="6656592" y="2959221"/>
            <a:ext cx="137541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и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22" name="object 322"/>
          <p:cNvSpPr txBox="1"/>
          <p:nvPr/>
        </p:nvSpPr>
        <p:spPr>
          <a:xfrm rot="1800000">
            <a:off x="6711227" y="2986360"/>
            <a:ext cx="135463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е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23" name="object 323"/>
          <p:cNvSpPr txBox="1"/>
          <p:nvPr/>
        </p:nvSpPr>
        <p:spPr>
          <a:xfrm rot="20580000">
            <a:off x="5633447" y="2971697"/>
            <a:ext cx="136984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б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24" name="object 324"/>
          <p:cNvSpPr txBox="1"/>
          <p:nvPr/>
        </p:nvSpPr>
        <p:spPr>
          <a:xfrm rot="240000">
            <a:off x="6086455" y="2921082"/>
            <a:ext cx="131659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т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25" name="object 325"/>
          <p:cNvSpPr txBox="1"/>
          <p:nvPr/>
        </p:nvSpPr>
        <p:spPr>
          <a:xfrm rot="600000">
            <a:off x="6238474" y="2941252"/>
            <a:ext cx="138155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б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26" name="object 326"/>
          <p:cNvSpPr txBox="1"/>
          <p:nvPr/>
        </p:nvSpPr>
        <p:spPr>
          <a:xfrm rot="1080000">
            <a:off x="6420054" y="2988906"/>
            <a:ext cx="136076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н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27" name="object 327"/>
          <p:cNvSpPr txBox="1"/>
          <p:nvPr/>
        </p:nvSpPr>
        <p:spPr>
          <a:xfrm rot="1620000">
            <a:off x="6591573" y="3061304"/>
            <a:ext cx="133757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а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28" name="object 328"/>
          <p:cNvSpPr txBox="1"/>
          <p:nvPr/>
        </p:nvSpPr>
        <p:spPr>
          <a:xfrm rot="4440000">
            <a:off x="7402191" y="3810810"/>
            <a:ext cx="136076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п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29" name="object 329"/>
          <p:cNvSpPr txBox="1"/>
          <p:nvPr/>
        </p:nvSpPr>
        <p:spPr>
          <a:xfrm rot="4440000">
            <a:off x="7310608" y="3864924"/>
            <a:ext cx="130572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т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30" name="object 330"/>
          <p:cNvSpPr txBox="1"/>
          <p:nvPr/>
        </p:nvSpPr>
        <p:spPr>
          <a:xfrm rot="4440000">
            <a:off x="7211259" y="3890515"/>
            <a:ext cx="135189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л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31" name="object 331"/>
          <p:cNvSpPr txBox="1"/>
          <p:nvPr/>
        </p:nvSpPr>
        <p:spPr>
          <a:xfrm rot="4560000">
            <a:off x="7417795" y="3875549"/>
            <a:ext cx="139093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р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32" name="object 332"/>
          <p:cNvSpPr txBox="1"/>
          <p:nvPr/>
        </p:nvSpPr>
        <p:spPr>
          <a:xfrm rot="4560000">
            <a:off x="7323300" y="3920088"/>
            <a:ext cx="135463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е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33" name="object 333"/>
          <p:cNvSpPr txBox="1"/>
          <p:nvPr/>
        </p:nvSpPr>
        <p:spPr>
          <a:xfrm rot="4560000">
            <a:off x="7227227" y="3950570"/>
            <a:ext cx="134890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а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34" name="object 334"/>
          <p:cNvSpPr txBox="1"/>
          <p:nvPr/>
        </p:nvSpPr>
        <p:spPr>
          <a:xfrm rot="4080000">
            <a:off x="7339532" y="3690143"/>
            <a:ext cx="173356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ие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35" name="object 335"/>
          <p:cNvSpPr txBox="1"/>
          <p:nvPr/>
        </p:nvSpPr>
        <p:spPr>
          <a:xfrm rot="4080000">
            <a:off x="7272292" y="3753480"/>
            <a:ext cx="134039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в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36" name="object 336"/>
          <p:cNvSpPr txBox="1"/>
          <p:nvPr/>
        </p:nvSpPr>
        <p:spPr>
          <a:xfrm rot="4080000">
            <a:off x="7168727" y="3771487"/>
            <a:ext cx="136377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и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37" name="object 337"/>
          <p:cNvSpPr txBox="1"/>
          <p:nvPr/>
        </p:nvSpPr>
        <p:spPr>
          <a:xfrm rot="4740000">
            <a:off x="7421391" y="3971806"/>
            <a:ext cx="173814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о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е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38" name="object 338"/>
          <p:cNvSpPr txBox="1"/>
          <p:nvPr/>
        </p:nvSpPr>
        <p:spPr>
          <a:xfrm rot="4740000">
            <a:off x="7336589" y="3981870"/>
            <a:ext cx="135482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л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39" name="object 339"/>
          <p:cNvSpPr txBox="1"/>
          <p:nvPr/>
        </p:nvSpPr>
        <p:spPr>
          <a:xfrm rot="4740000">
            <a:off x="7246099" y="4039727"/>
            <a:ext cx="134609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в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40" name="object 340"/>
          <p:cNvSpPr txBox="1"/>
          <p:nvPr/>
        </p:nvSpPr>
        <p:spPr>
          <a:xfrm rot="3900000">
            <a:off x="7326162" y="3607992"/>
            <a:ext cx="131077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т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41" name="object 341"/>
          <p:cNvSpPr txBox="1"/>
          <p:nvPr/>
        </p:nvSpPr>
        <p:spPr>
          <a:xfrm rot="3900000">
            <a:off x="7245731" y="3693212"/>
            <a:ext cx="137292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о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42" name="object 342"/>
          <p:cNvSpPr txBox="1"/>
          <p:nvPr/>
        </p:nvSpPr>
        <p:spPr>
          <a:xfrm rot="3900000">
            <a:off x="7142206" y="3710078"/>
            <a:ext cx="136377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ц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43" name="object 343"/>
          <p:cNvSpPr txBox="1"/>
          <p:nvPr/>
        </p:nvSpPr>
        <p:spPr>
          <a:xfrm rot="4980000">
            <a:off x="7455615" y="4065483"/>
            <a:ext cx="133478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к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44" name="object 344"/>
          <p:cNvSpPr txBox="1"/>
          <p:nvPr/>
        </p:nvSpPr>
        <p:spPr>
          <a:xfrm rot="3660000">
            <a:off x="7296143" y="3553685"/>
            <a:ext cx="137237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и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45" name="object 345"/>
          <p:cNvSpPr txBox="1"/>
          <p:nvPr/>
        </p:nvSpPr>
        <p:spPr>
          <a:xfrm rot="3660000">
            <a:off x="7186835" y="3607071"/>
            <a:ext cx="171986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-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е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д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46" name="object 346"/>
          <p:cNvSpPr txBox="1"/>
          <p:nvPr/>
        </p:nvSpPr>
        <p:spPr>
          <a:xfrm rot="5100000">
            <a:off x="7462075" y="4121052"/>
            <a:ext cx="130823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т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47" name="object 347"/>
          <p:cNvSpPr txBox="1"/>
          <p:nvPr/>
        </p:nvSpPr>
        <p:spPr>
          <a:xfrm rot="5100000">
            <a:off x="7340222" y="4129030"/>
            <a:ext cx="167940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с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к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48" name="object 348"/>
          <p:cNvSpPr txBox="1"/>
          <p:nvPr/>
        </p:nvSpPr>
        <p:spPr>
          <a:xfrm rot="5100000">
            <a:off x="7261121" y="4158883"/>
            <a:ext cx="131334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з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49" name="object 349"/>
          <p:cNvSpPr txBox="1"/>
          <p:nvPr/>
        </p:nvSpPr>
        <p:spPr>
          <a:xfrm rot="3540000">
            <a:off x="7265968" y="3498191"/>
            <a:ext cx="134609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в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50" name="object 350"/>
          <p:cNvSpPr txBox="1"/>
          <p:nvPr/>
        </p:nvSpPr>
        <p:spPr>
          <a:xfrm rot="3540000">
            <a:off x="7159167" y="3525052"/>
            <a:ext cx="135778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л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51" name="object 351"/>
          <p:cNvSpPr txBox="1"/>
          <p:nvPr/>
        </p:nvSpPr>
        <p:spPr>
          <a:xfrm rot="3540000">
            <a:off x="7082395" y="3595796"/>
            <a:ext cx="134609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е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52" name="object 352"/>
          <p:cNvSpPr txBox="1"/>
          <p:nvPr/>
        </p:nvSpPr>
        <p:spPr>
          <a:xfrm rot="5220000">
            <a:off x="7462903" y="4179972"/>
            <a:ext cx="137237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н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53" name="object 353"/>
          <p:cNvSpPr txBox="1"/>
          <p:nvPr/>
        </p:nvSpPr>
        <p:spPr>
          <a:xfrm rot="3360000">
            <a:off x="7205538" y="3424473"/>
            <a:ext cx="163964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-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а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з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54" name="object 354"/>
          <p:cNvSpPr txBox="1"/>
          <p:nvPr/>
        </p:nvSpPr>
        <p:spPr>
          <a:xfrm rot="3360000">
            <a:off x="7126040" y="3473535"/>
            <a:ext cx="134608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с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55" name="object 355"/>
          <p:cNvSpPr txBox="1"/>
          <p:nvPr/>
        </p:nvSpPr>
        <p:spPr>
          <a:xfrm rot="3360000">
            <a:off x="7053553" y="3547212"/>
            <a:ext cx="130823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т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56" name="object 356"/>
          <p:cNvSpPr txBox="1"/>
          <p:nvPr/>
        </p:nvSpPr>
        <p:spPr>
          <a:xfrm>
            <a:off x="7255464" y="4259940"/>
            <a:ext cx="333375" cy="133350"/>
          </a:xfrm>
          <a:prstGeom prst="rect">
            <a:avLst/>
          </a:prstGeom>
        </p:spPr>
        <p:txBody>
          <a:bodyPr vert="vert" wrap="square" lIns="0" tIns="0" rIns="0" bIns="0" rtlCol="0">
            <a:spAutoFit/>
          </a:bodyPr>
          <a:lstStyle/>
          <a:p>
            <a:pPr marL="53340" marR="5080" lvl="0" indent="-41275" algn="just" defTabSz="914400" rtl="0" eaLnBrk="1" fontAlgn="auto" latinLnBrk="0" hangingPunct="1">
              <a:lnSpc>
                <a:spcPct val="83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-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о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- г в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57" name="object 357"/>
          <p:cNvSpPr txBox="1"/>
          <p:nvPr/>
        </p:nvSpPr>
        <p:spPr>
          <a:xfrm rot="3120000">
            <a:off x="7164735" y="3348564"/>
            <a:ext cx="138543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Р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58" name="object 358"/>
          <p:cNvSpPr txBox="1"/>
          <p:nvPr/>
        </p:nvSpPr>
        <p:spPr>
          <a:xfrm rot="3120000">
            <a:off x="7089842" y="3423995"/>
            <a:ext cx="134890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с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59" name="object 359"/>
          <p:cNvSpPr txBox="1"/>
          <p:nvPr/>
        </p:nvSpPr>
        <p:spPr>
          <a:xfrm rot="4200000">
            <a:off x="7292029" y="3809957"/>
            <a:ext cx="134323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а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60" name="object 360"/>
          <p:cNvSpPr txBox="1"/>
          <p:nvPr/>
        </p:nvSpPr>
        <p:spPr>
          <a:xfrm rot="4200000">
            <a:off x="7192368" y="3830247"/>
            <a:ext cx="134890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а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61" name="object 361"/>
          <p:cNvSpPr txBox="1"/>
          <p:nvPr/>
        </p:nvSpPr>
        <p:spPr>
          <a:xfrm rot="4920000">
            <a:off x="7348981" y="4041982"/>
            <a:ext cx="133230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ь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62" name="object 362"/>
          <p:cNvSpPr txBox="1"/>
          <p:nvPr/>
        </p:nvSpPr>
        <p:spPr>
          <a:xfrm rot="4920000">
            <a:off x="7253983" y="4101904"/>
            <a:ext cx="134898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у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63" name="object 363"/>
          <p:cNvSpPr txBox="1"/>
          <p:nvPr/>
        </p:nvSpPr>
        <p:spPr>
          <a:xfrm rot="5280000">
            <a:off x="7360280" y="4221414"/>
            <a:ext cx="136984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о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64" name="object 364"/>
          <p:cNvSpPr txBox="1"/>
          <p:nvPr/>
        </p:nvSpPr>
        <p:spPr>
          <a:xfrm rot="5280000">
            <a:off x="7261213" y="4219891"/>
            <a:ext cx="136984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о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65" name="object 365"/>
          <p:cNvSpPr txBox="1"/>
          <p:nvPr/>
        </p:nvSpPr>
        <p:spPr>
          <a:xfrm rot="5640000">
            <a:off x="7357027" y="4338332"/>
            <a:ext cx="137292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о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66" name="object 366"/>
          <p:cNvSpPr txBox="1"/>
          <p:nvPr/>
        </p:nvSpPr>
        <p:spPr>
          <a:xfrm rot="3060000">
            <a:off x="7050584" y="3375653"/>
            <a:ext cx="136377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и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67" name="object 367"/>
          <p:cNvSpPr txBox="1"/>
          <p:nvPr/>
        </p:nvSpPr>
        <p:spPr>
          <a:xfrm rot="3060000">
            <a:off x="6975523" y="3446476"/>
            <a:ext cx="135778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п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68" name="object 368"/>
          <p:cNvSpPr txBox="1"/>
          <p:nvPr/>
        </p:nvSpPr>
        <p:spPr>
          <a:xfrm rot="3720000">
            <a:off x="7113331" y="3651058"/>
            <a:ext cx="136076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н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69" name="object 369"/>
          <p:cNvSpPr txBox="1"/>
          <p:nvPr/>
        </p:nvSpPr>
        <p:spPr>
          <a:xfrm rot="3180000">
            <a:off x="7015323" y="3497353"/>
            <a:ext cx="137292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о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70" name="object 370"/>
          <p:cNvSpPr txBox="1"/>
          <p:nvPr/>
        </p:nvSpPr>
        <p:spPr>
          <a:xfrm rot="7140000">
            <a:off x="7164967" y="4903053"/>
            <a:ext cx="134608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к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71" name="object 371"/>
          <p:cNvSpPr txBox="1"/>
          <p:nvPr/>
        </p:nvSpPr>
        <p:spPr>
          <a:xfrm rot="7140000">
            <a:off x="7088785" y="4853245"/>
            <a:ext cx="138155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о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72" name="object 372"/>
          <p:cNvSpPr txBox="1"/>
          <p:nvPr/>
        </p:nvSpPr>
        <p:spPr>
          <a:xfrm rot="7320000">
            <a:off x="7199817" y="5004908"/>
            <a:ext cx="137237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н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73" name="object 373"/>
          <p:cNvSpPr txBox="1"/>
          <p:nvPr/>
        </p:nvSpPr>
        <p:spPr>
          <a:xfrm rot="7320000">
            <a:off x="7132413" y="4954228"/>
            <a:ext cx="134890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а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74" name="object 374"/>
          <p:cNvSpPr txBox="1"/>
          <p:nvPr/>
        </p:nvSpPr>
        <p:spPr>
          <a:xfrm rot="7320000">
            <a:off x="7061012" y="4900423"/>
            <a:ext cx="134609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в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75" name="object 375"/>
          <p:cNvSpPr txBox="1"/>
          <p:nvPr/>
        </p:nvSpPr>
        <p:spPr>
          <a:xfrm rot="7500000">
            <a:off x="7162184" y="5058815"/>
            <a:ext cx="136679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и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76" name="object 376"/>
          <p:cNvSpPr txBox="1"/>
          <p:nvPr/>
        </p:nvSpPr>
        <p:spPr>
          <a:xfrm rot="7500000">
            <a:off x="7096462" y="5004898"/>
            <a:ext cx="135189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д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77" name="object 377"/>
          <p:cNvSpPr txBox="1"/>
          <p:nvPr/>
        </p:nvSpPr>
        <p:spPr>
          <a:xfrm rot="7500000">
            <a:off x="7031069" y="4944127"/>
            <a:ext cx="134609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е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78" name="object 378"/>
          <p:cNvSpPr txBox="1"/>
          <p:nvPr/>
        </p:nvSpPr>
        <p:spPr>
          <a:xfrm rot="7620000">
            <a:off x="7124856" y="5109497"/>
            <a:ext cx="135463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е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79" name="object 379"/>
          <p:cNvSpPr txBox="1"/>
          <p:nvPr/>
        </p:nvSpPr>
        <p:spPr>
          <a:xfrm rot="7620000">
            <a:off x="7055273" y="5056759"/>
            <a:ext cx="139093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р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80" name="object 380"/>
          <p:cNvSpPr txBox="1"/>
          <p:nvPr/>
        </p:nvSpPr>
        <p:spPr>
          <a:xfrm rot="7800000">
            <a:off x="7011316" y="5109435"/>
            <a:ext cx="138155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о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81" name="object 381"/>
          <p:cNvSpPr txBox="1"/>
          <p:nvPr/>
        </p:nvSpPr>
        <p:spPr>
          <a:xfrm rot="7800000">
            <a:off x="6965818" y="5028027"/>
            <a:ext cx="135753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е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82" name="object 382"/>
          <p:cNvSpPr txBox="1"/>
          <p:nvPr/>
        </p:nvSpPr>
        <p:spPr>
          <a:xfrm rot="7980000">
            <a:off x="7060871" y="5183330"/>
            <a:ext cx="137237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н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83" name="object 383"/>
          <p:cNvSpPr txBox="1"/>
          <p:nvPr/>
        </p:nvSpPr>
        <p:spPr>
          <a:xfrm rot="7980000">
            <a:off x="6968279" y="5156485"/>
            <a:ext cx="135175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в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84" name="object 384"/>
          <p:cNvSpPr txBox="1"/>
          <p:nvPr/>
        </p:nvSpPr>
        <p:spPr>
          <a:xfrm rot="7980000">
            <a:off x="6931745" y="5067414"/>
            <a:ext cx="134039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с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85" name="object 385"/>
          <p:cNvSpPr txBox="1"/>
          <p:nvPr/>
        </p:nvSpPr>
        <p:spPr>
          <a:xfrm rot="8160000">
            <a:off x="7013999" y="5230877"/>
            <a:ext cx="137601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о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86" name="object 386"/>
          <p:cNvSpPr txBox="1"/>
          <p:nvPr/>
        </p:nvSpPr>
        <p:spPr>
          <a:xfrm rot="8160000">
            <a:off x="6920197" y="5201624"/>
            <a:ext cx="137292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о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87" name="object 387"/>
          <p:cNvSpPr txBox="1"/>
          <p:nvPr/>
        </p:nvSpPr>
        <p:spPr>
          <a:xfrm rot="8160000">
            <a:off x="6859605" y="5123966"/>
            <a:ext cx="166613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-7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к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о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88" name="object 388"/>
          <p:cNvSpPr txBox="1"/>
          <p:nvPr/>
        </p:nvSpPr>
        <p:spPr>
          <a:xfrm rot="8340000">
            <a:off x="6880866" y="5240805"/>
            <a:ext cx="129119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г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89" name="object 389"/>
          <p:cNvSpPr txBox="1"/>
          <p:nvPr/>
        </p:nvSpPr>
        <p:spPr>
          <a:xfrm rot="8340000">
            <a:off x="6823420" y="5173451"/>
            <a:ext cx="129119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г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90" name="object 390"/>
          <p:cNvSpPr txBox="1"/>
          <p:nvPr/>
        </p:nvSpPr>
        <p:spPr>
          <a:xfrm rot="8460000">
            <a:off x="6910982" y="5321373"/>
            <a:ext cx="144070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ы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91" name="object 391"/>
          <p:cNvSpPr txBox="1"/>
          <p:nvPr/>
        </p:nvSpPr>
        <p:spPr>
          <a:xfrm rot="8460000">
            <a:off x="6831582" y="5277320"/>
            <a:ext cx="138155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о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92" name="object 392"/>
          <p:cNvSpPr txBox="1"/>
          <p:nvPr/>
        </p:nvSpPr>
        <p:spPr>
          <a:xfrm rot="8460000">
            <a:off x="6780681" y="5203859"/>
            <a:ext cx="138155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о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93" name="object 393"/>
          <p:cNvSpPr txBox="1"/>
          <p:nvPr/>
        </p:nvSpPr>
        <p:spPr>
          <a:xfrm rot="8820000">
            <a:off x="6777005" y="5419433"/>
            <a:ext cx="140485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м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94" name="object 394"/>
          <p:cNvSpPr txBox="1"/>
          <p:nvPr/>
        </p:nvSpPr>
        <p:spPr>
          <a:xfrm rot="8820000">
            <a:off x="6748871" y="5336242"/>
            <a:ext cx="138227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р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95" name="object 395"/>
          <p:cNvSpPr txBox="1"/>
          <p:nvPr/>
        </p:nvSpPr>
        <p:spPr>
          <a:xfrm rot="8820000">
            <a:off x="6708670" y="5256524"/>
            <a:ext cx="136076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п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96" name="object 396"/>
          <p:cNvSpPr txBox="1"/>
          <p:nvPr/>
        </p:nvSpPr>
        <p:spPr>
          <a:xfrm rot="8940000">
            <a:off x="6721791" y="5454091"/>
            <a:ext cx="135463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е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97" name="object 397"/>
          <p:cNvSpPr txBox="1"/>
          <p:nvPr/>
        </p:nvSpPr>
        <p:spPr>
          <a:xfrm rot="8940000">
            <a:off x="6695556" y="5370616"/>
            <a:ext cx="135175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а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98" name="object 398"/>
          <p:cNvSpPr txBox="1"/>
          <p:nvPr/>
        </p:nvSpPr>
        <p:spPr>
          <a:xfrm rot="9180000">
            <a:off x="6668544" y="5483459"/>
            <a:ext cx="134039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х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399" name="object 399"/>
          <p:cNvSpPr txBox="1"/>
          <p:nvPr/>
        </p:nvSpPr>
        <p:spPr>
          <a:xfrm rot="9180000">
            <a:off x="6646548" y="5398988"/>
            <a:ext cx="131077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з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400" name="object 400"/>
          <p:cNvSpPr txBox="1"/>
          <p:nvPr/>
        </p:nvSpPr>
        <p:spPr>
          <a:xfrm rot="9300000">
            <a:off x="6613767" y="5509648"/>
            <a:ext cx="134323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а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401" name="object 401"/>
          <p:cNvSpPr txBox="1"/>
          <p:nvPr/>
        </p:nvSpPr>
        <p:spPr>
          <a:xfrm rot="9300000">
            <a:off x="6593806" y="5424648"/>
            <a:ext cx="134609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в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402" name="object 402"/>
          <p:cNvSpPr txBox="1"/>
          <p:nvPr/>
        </p:nvSpPr>
        <p:spPr>
          <a:xfrm rot="9300000">
            <a:off x="6523990" y="5358397"/>
            <a:ext cx="136936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н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403" name="object 403"/>
          <p:cNvSpPr txBox="1"/>
          <p:nvPr/>
        </p:nvSpPr>
        <p:spPr>
          <a:xfrm rot="9480000">
            <a:off x="6554556" y="5535563"/>
            <a:ext cx="137237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н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404" name="object 404"/>
          <p:cNvSpPr txBox="1"/>
          <p:nvPr/>
        </p:nvSpPr>
        <p:spPr>
          <a:xfrm rot="9480000">
            <a:off x="6495716" y="5459886"/>
            <a:ext cx="167496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и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т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405" name="object 405"/>
          <p:cNvSpPr txBox="1"/>
          <p:nvPr/>
        </p:nvSpPr>
        <p:spPr>
          <a:xfrm rot="9480000">
            <a:off x="6471500" y="5379899"/>
            <a:ext cx="136377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ц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406" name="object 406"/>
          <p:cNvSpPr txBox="1"/>
          <p:nvPr/>
        </p:nvSpPr>
        <p:spPr>
          <a:xfrm rot="9600000">
            <a:off x="6493270" y="5558299"/>
            <a:ext cx="136679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и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407" name="object 407"/>
          <p:cNvSpPr txBox="1"/>
          <p:nvPr/>
        </p:nvSpPr>
        <p:spPr>
          <a:xfrm rot="9600000">
            <a:off x="6424866" y="5491642"/>
            <a:ext cx="137541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и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408" name="object 408"/>
          <p:cNvSpPr txBox="1"/>
          <p:nvPr/>
        </p:nvSpPr>
        <p:spPr>
          <a:xfrm rot="9840000">
            <a:off x="6383781" y="5587618"/>
            <a:ext cx="172898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з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м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409" name="object 409"/>
          <p:cNvSpPr txBox="1"/>
          <p:nvPr/>
        </p:nvSpPr>
        <p:spPr>
          <a:xfrm rot="9840000">
            <a:off x="6364974" y="5508974"/>
            <a:ext cx="134323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я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410" name="object 410"/>
          <p:cNvSpPr txBox="1"/>
          <p:nvPr/>
        </p:nvSpPr>
        <p:spPr>
          <a:xfrm rot="9840000">
            <a:off x="6366334" y="5416191"/>
            <a:ext cx="134039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а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411" name="object 411"/>
          <p:cNvSpPr txBox="1"/>
          <p:nvPr/>
        </p:nvSpPr>
        <p:spPr>
          <a:xfrm rot="6840000">
            <a:off x="7315425" y="4792222"/>
            <a:ext cx="136984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о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412" name="object 412"/>
          <p:cNvSpPr txBox="1"/>
          <p:nvPr/>
        </p:nvSpPr>
        <p:spPr>
          <a:xfrm rot="6840000">
            <a:off x="7138345" y="4732385"/>
            <a:ext cx="163561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-7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ч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е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413" name="object 413"/>
          <p:cNvSpPr txBox="1"/>
          <p:nvPr/>
        </p:nvSpPr>
        <p:spPr>
          <a:xfrm rot="7020000">
            <a:off x="7117846" y="4803122"/>
            <a:ext cx="135482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л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414" name="object 414"/>
          <p:cNvSpPr txBox="1"/>
          <p:nvPr/>
        </p:nvSpPr>
        <p:spPr>
          <a:xfrm rot="7680000">
            <a:off x="6999719" y="4986973"/>
            <a:ext cx="133757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ч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415" name="object 415"/>
          <p:cNvSpPr txBox="1"/>
          <p:nvPr/>
        </p:nvSpPr>
        <p:spPr>
          <a:xfrm rot="9000000">
            <a:off x="6629098" y="5298294"/>
            <a:ext cx="161846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-7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о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т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416" name="object 416"/>
          <p:cNvSpPr txBox="1"/>
          <p:nvPr/>
        </p:nvSpPr>
        <p:spPr>
          <a:xfrm rot="9120000">
            <a:off x="6574912" y="5334769"/>
            <a:ext cx="135753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е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417" name="object 417"/>
          <p:cNvSpPr txBox="1"/>
          <p:nvPr/>
        </p:nvSpPr>
        <p:spPr>
          <a:xfrm rot="9660000">
            <a:off x="6417213" y="5399515"/>
            <a:ext cx="136377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и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418" name="object 418"/>
          <p:cNvSpPr txBox="1"/>
          <p:nvPr/>
        </p:nvSpPr>
        <p:spPr>
          <a:xfrm rot="10020000">
            <a:off x="6307820" y="5610538"/>
            <a:ext cx="136984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о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419" name="object 419"/>
          <p:cNvSpPr txBox="1"/>
          <p:nvPr/>
        </p:nvSpPr>
        <p:spPr>
          <a:xfrm rot="10020000">
            <a:off x="6314073" y="5430203"/>
            <a:ext cx="135189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л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420" name="object 420"/>
          <p:cNvSpPr txBox="1"/>
          <p:nvPr/>
        </p:nvSpPr>
        <p:spPr>
          <a:xfrm rot="10140000">
            <a:off x="6245681" y="5622841"/>
            <a:ext cx="134609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в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421" name="object 421"/>
          <p:cNvSpPr txBox="1"/>
          <p:nvPr/>
        </p:nvSpPr>
        <p:spPr>
          <a:xfrm rot="10140000">
            <a:off x="6262399" y="5441993"/>
            <a:ext cx="135175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а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422" name="object 422"/>
          <p:cNvSpPr txBox="1"/>
          <p:nvPr/>
        </p:nvSpPr>
        <p:spPr>
          <a:xfrm rot="6660000">
            <a:off x="7340445" y="4725482"/>
            <a:ext cx="143038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С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423" name="object 423"/>
          <p:cNvSpPr txBox="1"/>
          <p:nvPr/>
        </p:nvSpPr>
        <p:spPr>
          <a:xfrm rot="6960000">
            <a:off x="7262281" y="4874599"/>
            <a:ext cx="166173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з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д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424" name="object 424"/>
          <p:cNvSpPr txBox="1"/>
          <p:nvPr/>
        </p:nvSpPr>
        <p:spPr>
          <a:xfrm rot="7200000">
            <a:off x="7235419" y="4952404"/>
            <a:ext cx="133757" cy="119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а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425" name="object 425"/>
          <p:cNvSpPr txBox="1"/>
          <p:nvPr/>
        </p:nvSpPr>
        <p:spPr>
          <a:xfrm rot="8280000">
            <a:off x="6969071" y="5275019"/>
            <a:ext cx="135463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в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426" name="object 426"/>
          <p:cNvSpPr txBox="1"/>
          <p:nvPr/>
        </p:nvSpPr>
        <p:spPr>
          <a:xfrm rot="8640000">
            <a:off x="6860413" y="5364118"/>
            <a:ext cx="133757" cy="120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4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х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427" name="object 427"/>
          <p:cNvSpPr txBox="1"/>
          <p:nvPr/>
        </p:nvSpPr>
        <p:spPr>
          <a:xfrm>
            <a:off x="7974562" y="4823743"/>
            <a:ext cx="3468942" cy="141577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ts val="12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Формирование кадровой инфраструктуры, отвечающей технологиям опережающего развития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  <a:p>
            <a:pPr marL="12700" marR="5080" lvl="0" indent="0" algn="l" defTabSz="914400" rtl="0" eaLnBrk="1" fontAlgn="auto" latinLnBrk="0" hangingPunct="1">
              <a:lnSpc>
                <a:spcPts val="244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Трансферт кадровых и инновационных  технологий 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151616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  <a:p>
            <a:pPr marL="12700" marR="5080" lvl="0" indent="0" algn="l" defTabSz="914400" rtl="0" eaLnBrk="1" fontAlgn="auto" latinLnBrk="0" hangingPunct="1">
              <a:lnSpc>
                <a:spcPts val="244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Апробация разработанных методик,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  <a:p>
            <a:pPr marL="12700" marR="0" lvl="0" indent="0" algn="l" defTabSz="914400" rtl="0" eaLnBrk="1" fontAlgn="auto" latinLnBrk="0" hangingPunct="1">
              <a:lnSpc>
                <a:spcPts val="96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получение обратной связи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Создание новых продуктов/услуг для индустрии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1816784" y="438603"/>
            <a:ext cx="8539381" cy="417219"/>
          </a:xfrm>
          <a:prstGeom prst="rect">
            <a:avLst/>
          </a:prstGeom>
        </p:spPr>
        <p:txBody>
          <a:bodyPr vert="horz" wrap="square" lIns="0" tIns="44884" rIns="0" bIns="0" rtlCol="0">
            <a:spAutoFit/>
          </a:bodyPr>
          <a:lstStyle/>
          <a:p>
            <a:pPr marL="1874520">
              <a:lnSpc>
                <a:spcPts val="2875"/>
              </a:lnSpc>
            </a:pPr>
            <a:r>
              <a:rPr sz="2500" kern="1200" dirty="0">
                <a:solidFill>
                  <a:schemeClr val="tx1"/>
                </a:solidFill>
                <a:latin typeface="+mn-lt"/>
                <a:cs typeface="+mj-cs"/>
              </a:rPr>
              <a:t>ОСНОВНЫЕ ПРОДУКТЫ МКО</a:t>
            </a:r>
          </a:p>
        </p:txBody>
      </p:sp>
      <p:sp>
        <p:nvSpPr>
          <p:cNvPr id="15" name="object 15"/>
          <p:cNvSpPr txBox="1"/>
          <p:nvPr/>
        </p:nvSpPr>
        <p:spPr>
          <a:xfrm>
            <a:off x="1338878" y="5456340"/>
            <a:ext cx="1398917" cy="71814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0" algn="ctr" defTabSz="914400" rtl="0" eaLnBrk="1" fontAlgn="auto" latinLnBrk="0" hangingPunct="1">
              <a:lnSpc>
                <a:spcPts val="14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Исследования в профессиональной отрасли (высокие технологии)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1509494" y="1155467"/>
            <a:ext cx="1033779" cy="85818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0" algn="ctr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Проекты на основании результатов НИОКР</a:t>
            </a:r>
            <a:endParaRPr kumimoji="0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3939453" y="5413824"/>
            <a:ext cx="1927787" cy="107721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0" algn="ctr" defTabSz="914400" rtl="0" eaLnBrk="1" fontAlgn="auto" latinLnBrk="0" hangingPunct="1">
              <a:lnSpc>
                <a:spcPts val="14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Алгоритм проектирования </a:t>
            </a: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новых образовательных траекторий.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  <a:p>
            <a:pPr marL="105410" marR="131445" lvl="0" indent="0" algn="ctr" defTabSz="914400" rtl="0" eaLnBrk="1" fontAlgn="auto" latinLnBrk="0" hangingPunct="1">
              <a:lnSpc>
                <a:spcPts val="14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Банк образовательных программ и оценочных средств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3723396" y="1168161"/>
            <a:ext cx="2359903" cy="64120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252729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Квалифицированные кадры междисциплинарных</a:t>
            </a:r>
            <a:endParaRPr kumimoji="0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  <a:p>
            <a:pPr marL="0" marR="0" lvl="0" indent="0" algn="ctr" defTabSz="914400" rtl="0" eaLnBrk="1" fontAlgn="auto" latinLnBrk="0" hangingPunct="1">
              <a:lnSpc>
                <a:spcPts val="160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команд</a:t>
            </a:r>
            <a:endParaRPr kumimoji="0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6554897" y="5413824"/>
            <a:ext cx="2271603" cy="109222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0" algn="ctr" defTabSz="914400" rtl="0" eaLnBrk="1" fontAlgn="auto" latinLnBrk="0" hangingPunct="1">
              <a:lnSpc>
                <a:spcPts val="14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Консалтинговая деятельность (проектный, процессный, образовательный, экспертный) по сопровождению кадрового  проектирования технологических проектов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7079382" y="1145637"/>
            <a:ext cx="1213718" cy="85818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0" algn="ctr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Поддержка стартапов (монетизация НИОКР)</a:t>
            </a:r>
            <a:endParaRPr kumimoji="0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9548115" y="5456340"/>
            <a:ext cx="2097785" cy="71814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0" algn="ctr" defTabSz="914400" rtl="0" eaLnBrk="1" fontAlgn="auto" latinLnBrk="0" hangingPunct="1">
              <a:lnSpc>
                <a:spcPts val="14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Формирование элементов МКО: конструктор квалификаций, конструктор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  <a:p>
            <a:pPr marL="0" marR="0" lvl="0" indent="0" algn="ctr" defTabSz="914400" rtl="0" eaLnBrk="1" fontAlgn="auto" latinLnBrk="0" hangingPunct="1">
              <a:lnSpc>
                <a:spcPts val="13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карьеры и др.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118" name="object 118"/>
          <p:cNvSpPr txBox="1"/>
          <p:nvPr/>
        </p:nvSpPr>
        <p:spPr>
          <a:xfrm>
            <a:off x="9966064" y="1289050"/>
            <a:ext cx="1213718" cy="63730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0" algn="ctr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Прикладные технологии НСК</a:t>
            </a:r>
            <a:endParaRPr kumimoji="0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129" name="object 129"/>
          <p:cNvSpPr txBox="1"/>
          <p:nvPr/>
        </p:nvSpPr>
        <p:spPr>
          <a:xfrm>
            <a:off x="8614836" y="6609455"/>
            <a:ext cx="3355975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526CA2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МКО - модель кадрового обеспечения, ИК - инжиниринговая команда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E2D6B518-8AE2-4E6E-935F-B4E69AC2CA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54A1E0-1654-4A7F-AA48-6C9BE68E3732}" type="slidenum">
              <a:rPr lang="ru-RU" smtClean="0"/>
              <a:t>15</a:t>
            </a:fld>
            <a:endParaRPr lang="ru-RU" dirty="0"/>
          </a:p>
        </p:txBody>
      </p:sp>
      <p:pic>
        <p:nvPicPr>
          <p:cNvPr id="6" name="Рисунок 5" descr="Изображение выглядит как рисунок&#10;&#10;Автоматически созданное описание">
            <a:extLst>
              <a:ext uri="{FF2B5EF4-FFF2-40B4-BE49-F238E27FC236}">
                <a16:creationId xmlns:a16="http://schemas.microsoft.com/office/drawing/2014/main" id="{1DB55CE5-E0DE-42FC-8FF7-E6796260736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60" y="1545003"/>
            <a:ext cx="2959505" cy="820179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00BF8D93-2E80-4A68-8900-474067355B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203" y="198214"/>
            <a:ext cx="2863023" cy="695109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2F695AA4-DCDD-4808-AF49-591DC075CF4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5350" y="5188395"/>
            <a:ext cx="1143000" cy="1338408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696C24C-B146-4BDB-A0E7-EBBF2B189BE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055" y="3801337"/>
            <a:ext cx="1597158" cy="1338409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9F2197CE-E341-4C61-893F-AC908AF3405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31822" y="3959190"/>
            <a:ext cx="1173410" cy="1341106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C6256A7F-A104-431E-A3D5-149BABB0680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6300" y="145932"/>
            <a:ext cx="2061199" cy="1095499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2198FD0E-9354-4924-8028-4E6992B5039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70573" y="274471"/>
            <a:ext cx="3456174" cy="1065654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DB40334C-3E77-48B4-8CC1-F8F6B657F1E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531784" y="83657"/>
            <a:ext cx="1319534" cy="1256468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7582843E-CA0E-44A5-B34A-9833FC62470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182941" y="1388300"/>
            <a:ext cx="2061199" cy="1531732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3480F666-AB8B-4C8D-8A21-5C2697EC97E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96358" y="2445650"/>
            <a:ext cx="1029864" cy="1172361"/>
          </a:xfrm>
          <a:prstGeom prst="rect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C7966325-D511-44DD-A4E8-FD3E208F210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522671" y="1704245"/>
            <a:ext cx="1716238" cy="647106"/>
          </a:xfrm>
          <a:prstGeom prst="rect">
            <a:avLst/>
          </a:prstGeom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3AB7E684-2F55-4A77-962C-46ACEED05843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286660" y="3644314"/>
            <a:ext cx="1276432" cy="1276432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9C4CB9AD-7989-4868-9C1E-04DBCD3AA5A2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528840" y="2734240"/>
            <a:ext cx="1887967" cy="757104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E7923DBE-12BF-4A3E-B6AE-9BE4CDEFD4BC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0947745" y="3368655"/>
            <a:ext cx="922497" cy="1827750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7A4CAE2E-D513-400D-A7DD-4311C333F2D5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9660866" y="1728054"/>
            <a:ext cx="1951645" cy="757104"/>
          </a:xfrm>
          <a:prstGeom prst="rect">
            <a:avLst/>
          </a:prstGeom>
        </p:spPr>
      </p:pic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016539FE-A453-410A-8700-F1327219A563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2976110" y="2607077"/>
            <a:ext cx="2196998" cy="1123752"/>
          </a:xfrm>
          <a:prstGeom prst="rect">
            <a:avLst/>
          </a:prstGeom>
        </p:spPr>
      </p:pic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98BE8321-DA32-4E9D-9E78-7A5F70F7D46E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673401" y="2526552"/>
            <a:ext cx="1143000" cy="1136651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DDF201C3-5C76-4978-A349-7C655595C73C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730719" y="5367922"/>
            <a:ext cx="1341106" cy="1341106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483B80F9-35A8-4F26-81E1-845B9F8764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0444" y="5334109"/>
            <a:ext cx="1449499" cy="14087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92671A7B-B56F-4ABA-B68D-7F63A6EC45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4310" y="5241838"/>
            <a:ext cx="2269328" cy="1569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3422AD18-3933-4700-B12F-FE3F5FCC9F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56693" y="5318530"/>
            <a:ext cx="1545809" cy="12764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>
            <a:extLst>
              <a:ext uri="{FF2B5EF4-FFF2-40B4-BE49-F238E27FC236}">
                <a16:creationId xmlns:a16="http://schemas.microsoft.com/office/drawing/2014/main" id="{D1CEDC56-9C31-4BB1-B452-9CEC4D0BD6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5466" y="3892463"/>
            <a:ext cx="1758172" cy="17581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>
            <a:extLst>
              <a:ext uri="{FF2B5EF4-FFF2-40B4-BE49-F238E27FC236}">
                <a16:creationId xmlns:a16="http://schemas.microsoft.com/office/drawing/2014/main" id="{B13B0D4D-BC20-4A7E-A610-32DCEF307C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2861" y="3880559"/>
            <a:ext cx="1778122" cy="1437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>
            <a:extLst>
              <a:ext uri="{FF2B5EF4-FFF2-40B4-BE49-F238E27FC236}">
                <a16:creationId xmlns:a16="http://schemas.microsoft.com/office/drawing/2014/main" id="{5043F716-69C9-4056-B420-2DACC87E93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7287" y="3874233"/>
            <a:ext cx="1811234" cy="1358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>
            <a:extLst>
              <a:ext uri="{FF2B5EF4-FFF2-40B4-BE49-F238E27FC236}">
                <a16:creationId xmlns:a16="http://schemas.microsoft.com/office/drawing/2014/main" id="{B3B16EE3-0CE3-48BB-8F0E-34D593B60F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1507" y="1472771"/>
            <a:ext cx="1565667" cy="15858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 descr="top">
            <a:extLst>
              <a:ext uri="{FF2B5EF4-FFF2-40B4-BE49-F238E27FC236}">
                <a16:creationId xmlns:a16="http://schemas.microsoft.com/office/drawing/2014/main" id="{E7CDC822-90CA-429F-93B4-99BC190B4B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6913" y="3350873"/>
            <a:ext cx="812851" cy="4974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>
            <a:extLst>
              <a:ext uri="{FF2B5EF4-FFF2-40B4-BE49-F238E27FC236}">
                <a16:creationId xmlns:a16="http://schemas.microsoft.com/office/drawing/2014/main" id="{F2EDC08D-C60A-4D5D-B014-F3E803A4A3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249" y="5066478"/>
            <a:ext cx="1605992" cy="1744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150611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0D36A6CE-EE47-4167-B217-FE7E9ABA0C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54A1E0-1654-4A7F-AA48-6C9BE68E3732}" type="slidenum">
              <a:rPr lang="ru-RU" smtClean="0"/>
              <a:t>16</a:t>
            </a:fld>
            <a:endParaRPr lang="ru-RU" dirty="0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54427-173E-442D-9564-7251679AA3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320" y="293403"/>
            <a:ext cx="10946380" cy="6051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661153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195FB841-0555-43D1-9834-925B35EE95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1057" y="1585"/>
          <a:ext cx="1585" cy="1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425" imgH="426" progId="TCLayout.ActiveDocument.1">
                  <p:embed/>
                </p:oleObj>
              </mc:Choice>
              <mc:Fallback>
                <p:oleObj name="Слайд think-cell" r:id="rId4" imgW="425" imgH="426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195FB841-0555-43D1-9834-925B35EE95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1057" y="1585"/>
                        <a:ext cx="1585" cy="1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 hidden="1">
            <a:extLst>
              <a:ext uri="{FF2B5EF4-FFF2-40B4-BE49-F238E27FC236}">
                <a16:creationId xmlns:a16="http://schemas.microsoft.com/office/drawing/2014/main" id="{514DC72A-82E1-46F2-AEF4-60A85978AF2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39472" y="0"/>
            <a:ext cx="158456" cy="158456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533972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2296" dirty="0">
              <a:solidFill>
                <a:prstClr val="white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8314" y="109257"/>
            <a:ext cx="11233786" cy="935679"/>
          </a:xfrm>
        </p:spPr>
        <p:txBody>
          <a:bodyPr vert="horz"/>
          <a:lstStyle/>
          <a:p>
            <a:r>
              <a:rPr lang="ru-RU" sz="2500" b="1" dirty="0"/>
              <a:t>Потребность в опережающих квалификациях обусловлена развитием технологий и рыночными запросами</a:t>
            </a:r>
            <a:endParaRPr lang="en-US" sz="2500" b="1" dirty="0"/>
          </a:p>
        </p:txBody>
      </p:sp>
      <p:sp>
        <p:nvSpPr>
          <p:cNvPr id="33" name="Номер слайда 2">
            <a:extLst>
              <a:ext uri="{FF2B5EF4-FFF2-40B4-BE49-F238E27FC236}">
                <a16:creationId xmlns:a16="http://schemas.microsoft.com/office/drawing/2014/main" id="{8BD7994E-071A-450B-B9F2-44F0E35306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747236" y="6585272"/>
            <a:ext cx="1170051" cy="196024"/>
          </a:xfrm>
        </p:spPr>
        <p:txBody>
          <a:bodyPr/>
          <a:lstStyle/>
          <a:p>
            <a:pPr defTabSz="533972" eaLnBrk="0" fontAlgn="base" hangingPunct="0">
              <a:spcBef>
                <a:spcPct val="0"/>
              </a:spcBef>
              <a:spcAft>
                <a:spcPct val="0"/>
              </a:spcAft>
            </a:pPr>
            <a:fld id="{FC53B5C6-9314-4524-AC64-03D02BB042E3}" type="slidenum">
              <a:rPr lang="en-US" altLang="ru-RU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533972" eaLnBrk="0" fontAlgn="base" hangingPunct="0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lang="en-US" altLang="ru-RU" dirty="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C0B54CF1-CAD4-4361-AE8C-C486F10DB27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87605" y="1046241"/>
            <a:ext cx="9217434" cy="4089752"/>
          </a:xfrm>
          <a:prstGeom prst="rect">
            <a:avLst/>
          </a:prstGeom>
        </p:spPr>
      </p:pic>
      <p:pic>
        <p:nvPicPr>
          <p:cNvPr id="181280" name="Picture 32">
            <a:extLst>
              <a:ext uri="{FF2B5EF4-FFF2-40B4-BE49-F238E27FC236}">
                <a16:creationId xmlns:a16="http://schemas.microsoft.com/office/drawing/2014/main" id="{CB9CCCB4-7D15-48DE-9472-0F7A1864FB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8794" y="5430270"/>
            <a:ext cx="1038844" cy="737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4" name="Группа 53">
            <a:extLst>
              <a:ext uri="{FF2B5EF4-FFF2-40B4-BE49-F238E27FC236}">
                <a16:creationId xmlns:a16="http://schemas.microsoft.com/office/drawing/2014/main" id="{0C7E0257-2E45-4120-8960-9EF17726C42C}"/>
              </a:ext>
            </a:extLst>
          </p:cNvPr>
          <p:cNvGrpSpPr/>
          <p:nvPr/>
        </p:nvGrpSpPr>
        <p:grpSpPr>
          <a:xfrm>
            <a:off x="2092524" y="5524327"/>
            <a:ext cx="1358557" cy="522251"/>
            <a:chOff x="1171337" y="1507495"/>
            <a:chExt cx="1361078" cy="523220"/>
          </a:xfrm>
        </p:grpSpPr>
        <p:sp>
          <p:nvSpPr>
            <p:cNvPr id="55" name="Прямоугольник 54">
              <a:extLst>
                <a:ext uri="{FF2B5EF4-FFF2-40B4-BE49-F238E27FC236}">
                  <a16:creationId xmlns:a16="http://schemas.microsoft.com/office/drawing/2014/main" id="{7DB13EC9-AACF-40F7-BA92-2AF8009A4338}"/>
                </a:ext>
              </a:extLst>
            </p:cNvPr>
            <p:cNvSpPr/>
            <p:nvPr/>
          </p:nvSpPr>
          <p:spPr>
            <a:xfrm>
              <a:off x="1669678" y="1507495"/>
              <a:ext cx="862737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533972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1397" b="1" dirty="0">
                  <a:solidFill>
                    <a:srgbClr val="33333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аука </a:t>
              </a:r>
              <a:br>
                <a:rPr lang="ru-RU" sz="1397" b="1" dirty="0">
                  <a:solidFill>
                    <a:srgbClr val="33333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1397" b="1" dirty="0">
                  <a:solidFill>
                    <a:srgbClr val="33333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Японии</a:t>
              </a:r>
            </a:p>
          </p:txBody>
        </p:sp>
        <p:grpSp>
          <p:nvGrpSpPr>
            <p:cNvPr id="68" name="Group 25">
              <a:extLst>
                <a:ext uri="{FF2B5EF4-FFF2-40B4-BE49-F238E27FC236}">
                  <a16:creationId xmlns:a16="http://schemas.microsoft.com/office/drawing/2014/main" id="{F9B4B75C-0E32-4990-9150-4AB19DF880A6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171337" y="1534756"/>
              <a:ext cx="498341" cy="495959"/>
              <a:chOff x="1946" y="1140"/>
              <a:chExt cx="2511" cy="2499"/>
            </a:xfrm>
            <a:solidFill>
              <a:schemeClr val="accent2"/>
            </a:solidFill>
          </p:grpSpPr>
          <p:sp>
            <p:nvSpPr>
              <p:cNvPr id="69" name="Freeform 26">
                <a:extLst>
                  <a:ext uri="{FF2B5EF4-FFF2-40B4-BE49-F238E27FC236}">
                    <a16:creationId xmlns:a16="http://schemas.microsoft.com/office/drawing/2014/main" id="{09A44C0A-B76B-493A-AB52-87BE617E2A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16" y="1140"/>
                <a:ext cx="1841" cy="2499"/>
              </a:xfrm>
              <a:custGeom>
                <a:avLst/>
                <a:gdLst>
                  <a:gd name="T0" fmla="*/ 167 w 777"/>
                  <a:gd name="T1" fmla="*/ 74 h 1055"/>
                  <a:gd name="T2" fmla="*/ 132 w 777"/>
                  <a:gd name="T3" fmla="*/ 69 h 1055"/>
                  <a:gd name="T4" fmla="*/ 132 w 777"/>
                  <a:gd name="T5" fmla="*/ 0 h 1055"/>
                  <a:gd name="T6" fmla="*/ 465 w 777"/>
                  <a:gd name="T7" fmla="*/ 0 h 1055"/>
                  <a:gd name="T8" fmla="*/ 465 w 777"/>
                  <a:gd name="T9" fmla="*/ 69 h 1055"/>
                  <a:gd name="T10" fmla="*/ 432 w 777"/>
                  <a:gd name="T11" fmla="*/ 74 h 1055"/>
                  <a:gd name="T12" fmla="*/ 430 w 777"/>
                  <a:gd name="T13" fmla="*/ 100 h 1055"/>
                  <a:gd name="T14" fmla="*/ 431 w 777"/>
                  <a:gd name="T15" fmla="*/ 363 h 1055"/>
                  <a:gd name="T16" fmla="*/ 445 w 777"/>
                  <a:gd name="T17" fmla="*/ 409 h 1055"/>
                  <a:gd name="T18" fmla="*/ 751 w 777"/>
                  <a:gd name="T19" fmla="*/ 926 h 1055"/>
                  <a:gd name="T20" fmla="*/ 739 w 777"/>
                  <a:gd name="T21" fmla="*/ 1037 h 1055"/>
                  <a:gd name="T22" fmla="*/ 691 w 777"/>
                  <a:gd name="T23" fmla="*/ 1054 h 1055"/>
                  <a:gd name="T24" fmla="*/ 7 w 777"/>
                  <a:gd name="T25" fmla="*/ 1055 h 1055"/>
                  <a:gd name="T26" fmla="*/ 0 w 777"/>
                  <a:gd name="T27" fmla="*/ 1052 h 1055"/>
                  <a:gd name="T28" fmla="*/ 35 w 777"/>
                  <a:gd name="T29" fmla="*/ 1002 h 1055"/>
                  <a:gd name="T30" fmla="*/ 54 w 777"/>
                  <a:gd name="T31" fmla="*/ 923 h 1055"/>
                  <a:gd name="T32" fmla="*/ 56 w 777"/>
                  <a:gd name="T33" fmla="*/ 613 h 1055"/>
                  <a:gd name="T34" fmla="*/ 71 w 777"/>
                  <a:gd name="T35" fmla="*/ 559 h 1055"/>
                  <a:gd name="T36" fmla="*/ 157 w 777"/>
                  <a:gd name="T37" fmla="*/ 406 h 1055"/>
                  <a:gd name="T38" fmla="*/ 167 w 777"/>
                  <a:gd name="T39" fmla="*/ 377 h 1055"/>
                  <a:gd name="T40" fmla="*/ 167 w 777"/>
                  <a:gd name="T41" fmla="*/ 74 h 1055"/>
                  <a:gd name="T42" fmla="*/ 396 w 777"/>
                  <a:gd name="T43" fmla="*/ 71 h 1055"/>
                  <a:gd name="T44" fmla="*/ 230 w 777"/>
                  <a:gd name="T45" fmla="*/ 71 h 1055"/>
                  <a:gd name="T46" fmla="*/ 202 w 777"/>
                  <a:gd name="T47" fmla="*/ 99 h 1055"/>
                  <a:gd name="T48" fmla="*/ 203 w 777"/>
                  <a:gd name="T49" fmla="*/ 294 h 1055"/>
                  <a:gd name="T50" fmla="*/ 149 w 777"/>
                  <a:gd name="T51" fmla="*/ 487 h 1055"/>
                  <a:gd name="T52" fmla="*/ 90 w 777"/>
                  <a:gd name="T53" fmla="*/ 586 h 1055"/>
                  <a:gd name="T54" fmla="*/ 131 w 777"/>
                  <a:gd name="T55" fmla="*/ 586 h 1055"/>
                  <a:gd name="T56" fmla="*/ 431 w 777"/>
                  <a:gd name="T57" fmla="*/ 585 h 1055"/>
                  <a:gd name="T58" fmla="*/ 479 w 777"/>
                  <a:gd name="T59" fmla="*/ 614 h 1055"/>
                  <a:gd name="T60" fmla="*/ 648 w 777"/>
                  <a:gd name="T61" fmla="*/ 901 h 1055"/>
                  <a:gd name="T62" fmla="*/ 705 w 777"/>
                  <a:gd name="T63" fmla="*/ 921 h 1055"/>
                  <a:gd name="T64" fmla="*/ 691 w 777"/>
                  <a:gd name="T65" fmla="*/ 894 h 1055"/>
                  <a:gd name="T66" fmla="*/ 417 w 777"/>
                  <a:gd name="T67" fmla="*/ 432 h 1055"/>
                  <a:gd name="T68" fmla="*/ 395 w 777"/>
                  <a:gd name="T69" fmla="*/ 351 h 1055"/>
                  <a:gd name="T70" fmla="*/ 396 w 777"/>
                  <a:gd name="T71" fmla="*/ 71 h 10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777" h="1055">
                    <a:moveTo>
                      <a:pt x="167" y="74"/>
                    </a:moveTo>
                    <a:cubicBezTo>
                      <a:pt x="153" y="72"/>
                      <a:pt x="144" y="71"/>
                      <a:pt x="132" y="69"/>
                    </a:cubicBezTo>
                    <a:cubicBezTo>
                      <a:pt x="132" y="46"/>
                      <a:pt x="132" y="24"/>
                      <a:pt x="132" y="0"/>
                    </a:cubicBezTo>
                    <a:cubicBezTo>
                      <a:pt x="243" y="0"/>
                      <a:pt x="353" y="0"/>
                      <a:pt x="465" y="0"/>
                    </a:cubicBezTo>
                    <a:cubicBezTo>
                      <a:pt x="465" y="23"/>
                      <a:pt x="465" y="45"/>
                      <a:pt x="465" y="69"/>
                    </a:cubicBezTo>
                    <a:cubicBezTo>
                      <a:pt x="455" y="70"/>
                      <a:pt x="445" y="72"/>
                      <a:pt x="432" y="74"/>
                    </a:cubicBezTo>
                    <a:cubicBezTo>
                      <a:pt x="432" y="82"/>
                      <a:pt x="430" y="91"/>
                      <a:pt x="430" y="100"/>
                    </a:cubicBezTo>
                    <a:cubicBezTo>
                      <a:pt x="430" y="188"/>
                      <a:pt x="429" y="275"/>
                      <a:pt x="431" y="363"/>
                    </a:cubicBezTo>
                    <a:cubicBezTo>
                      <a:pt x="431" y="378"/>
                      <a:pt x="437" y="395"/>
                      <a:pt x="445" y="409"/>
                    </a:cubicBezTo>
                    <a:cubicBezTo>
                      <a:pt x="546" y="582"/>
                      <a:pt x="649" y="754"/>
                      <a:pt x="751" y="926"/>
                    </a:cubicBezTo>
                    <a:cubicBezTo>
                      <a:pt x="777" y="970"/>
                      <a:pt x="773" y="1012"/>
                      <a:pt x="739" y="1037"/>
                    </a:cubicBezTo>
                    <a:cubicBezTo>
                      <a:pt x="725" y="1046"/>
                      <a:pt x="707" y="1054"/>
                      <a:pt x="691" y="1054"/>
                    </a:cubicBezTo>
                    <a:cubicBezTo>
                      <a:pt x="463" y="1055"/>
                      <a:pt x="235" y="1055"/>
                      <a:pt x="7" y="1055"/>
                    </a:cubicBezTo>
                    <a:cubicBezTo>
                      <a:pt x="5" y="1055"/>
                      <a:pt x="3" y="1053"/>
                      <a:pt x="0" y="1052"/>
                    </a:cubicBezTo>
                    <a:cubicBezTo>
                      <a:pt x="12" y="1035"/>
                      <a:pt x="28" y="1021"/>
                      <a:pt x="35" y="1002"/>
                    </a:cubicBezTo>
                    <a:cubicBezTo>
                      <a:pt x="45" y="977"/>
                      <a:pt x="54" y="950"/>
                      <a:pt x="54" y="923"/>
                    </a:cubicBezTo>
                    <a:cubicBezTo>
                      <a:pt x="56" y="820"/>
                      <a:pt x="54" y="716"/>
                      <a:pt x="56" y="613"/>
                    </a:cubicBezTo>
                    <a:cubicBezTo>
                      <a:pt x="56" y="595"/>
                      <a:pt x="62" y="575"/>
                      <a:pt x="71" y="559"/>
                    </a:cubicBezTo>
                    <a:cubicBezTo>
                      <a:pt x="98" y="507"/>
                      <a:pt x="128" y="457"/>
                      <a:pt x="157" y="406"/>
                    </a:cubicBezTo>
                    <a:cubicBezTo>
                      <a:pt x="162" y="397"/>
                      <a:pt x="167" y="387"/>
                      <a:pt x="167" y="377"/>
                    </a:cubicBezTo>
                    <a:cubicBezTo>
                      <a:pt x="168" y="277"/>
                      <a:pt x="167" y="177"/>
                      <a:pt x="167" y="74"/>
                    </a:cubicBezTo>
                    <a:close/>
                    <a:moveTo>
                      <a:pt x="396" y="71"/>
                    </a:moveTo>
                    <a:cubicBezTo>
                      <a:pt x="337" y="71"/>
                      <a:pt x="284" y="72"/>
                      <a:pt x="230" y="71"/>
                    </a:cubicBezTo>
                    <a:cubicBezTo>
                      <a:pt x="209" y="70"/>
                      <a:pt x="201" y="78"/>
                      <a:pt x="202" y="99"/>
                    </a:cubicBezTo>
                    <a:cubicBezTo>
                      <a:pt x="203" y="164"/>
                      <a:pt x="198" y="230"/>
                      <a:pt x="203" y="294"/>
                    </a:cubicBezTo>
                    <a:cubicBezTo>
                      <a:pt x="209" y="366"/>
                      <a:pt x="193" y="429"/>
                      <a:pt x="149" y="487"/>
                    </a:cubicBezTo>
                    <a:cubicBezTo>
                      <a:pt x="127" y="516"/>
                      <a:pt x="112" y="550"/>
                      <a:pt x="90" y="586"/>
                    </a:cubicBezTo>
                    <a:cubicBezTo>
                      <a:pt x="108" y="586"/>
                      <a:pt x="120" y="586"/>
                      <a:pt x="131" y="586"/>
                    </a:cubicBezTo>
                    <a:cubicBezTo>
                      <a:pt x="231" y="586"/>
                      <a:pt x="331" y="587"/>
                      <a:pt x="431" y="585"/>
                    </a:cubicBezTo>
                    <a:cubicBezTo>
                      <a:pt x="455" y="585"/>
                      <a:pt x="468" y="594"/>
                      <a:pt x="479" y="614"/>
                    </a:cubicBezTo>
                    <a:cubicBezTo>
                      <a:pt x="535" y="710"/>
                      <a:pt x="592" y="805"/>
                      <a:pt x="648" y="901"/>
                    </a:cubicBezTo>
                    <a:cubicBezTo>
                      <a:pt x="662" y="925"/>
                      <a:pt x="678" y="931"/>
                      <a:pt x="705" y="921"/>
                    </a:cubicBezTo>
                    <a:cubicBezTo>
                      <a:pt x="700" y="911"/>
                      <a:pt x="696" y="902"/>
                      <a:pt x="691" y="894"/>
                    </a:cubicBezTo>
                    <a:cubicBezTo>
                      <a:pt x="600" y="740"/>
                      <a:pt x="509" y="586"/>
                      <a:pt x="417" y="432"/>
                    </a:cubicBezTo>
                    <a:cubicBezTo>
                      <a:pt x="401" y="406"/>
                      <a:pt x="395" y="381"/>
                      <a:pt x="395" y="351"/>
                    </a:cubicBezTo>
                    <a:cubicBezTo>
                      <a:pt x="396" y="260"/>
                      <a:pt x="396" y="168"/>
                      <a:pt x="396" y="7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271" tIns="45635" rIns="91271" bIns="45635" numCol="1" anchor="t" anchorCtr="0" compatLnSpc="1">
                <a:prstTxWarp prst="textNoShape">
                  <a:avLst/>
                </a:prstTxWarp>
              </a:bodyPr>
              <a:lstStyle/>
              <a:p>
                <a:pPr defTabSz="533972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096" dirty="0">
                  <a:solidFill>
                    <a:srgbClr val="333333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0" name="Freeform 27">
                <a:extLst>
                  <a:ext uri="{FF2B5EF4-FFF2-40B4-BE49-F238E27FC236}">
                    <a16:creationId xmlns:a16="http://schemas.microsoft.com/office/drawing/2014/main" id="{7BF37C05-FB3D-4394-B475-8817D5575F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46" y="1595"/>
                <a:ext cx="789" cy="2044"/>
              </a:xfrm>
              <a:custGeom>
                <a:avLst/>
                <a:gdLst>
                  <a:gd name="T0" fmla="*/ 298 w 333"/>
                  <a:gd name="T1" fmla="*/ 72 h 863"/>
                  <a:gd name="T2" fmla="*/ 298 w 333"/>
                  <a:gd name="T3" fmla="*/ 111 h 863"/>
                  <a:gd name="T4" fmla="*/ 298 w 333"/>
                  <a:gd name="T5" fmla="*/ 723 h 863"/>
                  <a:gd name="T6" fmla="*/ 168 w 333"/>
                  <a:gd name="T7" fmla="*/ 863 h 863"/>
                  <a:gd name="T8" fmla="*/ 35 w 333"/>
                  <a:gd name="T9" fmla="*/ 723 h 863"/>
                  <a:gd name="T10" fmla="*/ 34 w 333"/>
                  <a:gd name="T11" fmla="*/ 111 h 863"/>
                  <a:gd name="T12" fmla="*/ 34 w 333"/>
                  <a:gd name="T13" fmla="*/ 72 h 863"/>
                  <a:gd name="T14" fmla="*/ 0 w 333"/>
                  <a:gd name="T15" fmla="*/ 68 h 863"/>
                  <a:gd name="T16" fmla="*/ 0 w 333"/>
                  <a:gd name="T17" fmla="*/ 0 h 863"/>
                  <a:gd name="T18" fmla="*/ 333 w 333"/>
                  <a:gd name="T19" fmla="*/ 0 h 863"/>
                  <a:gd name="T20" fmla="*/ 333 w 333"/>
                  <a:gd name="T21" fmla="*/ 68 h 863"/>
                  <a:gd name="T22" fmla="*/ 298 w 333"/>
                  <a:gd name="T23" fmla="*/ 72 h 863"/>
                  <a:gd name="T24" fmla="*/ 72 w 333"/>
                  <a:gd name="T25" fmla="*/ 71 h 863"/>
                  <a:gd name="T26" fmla="*/ 70 w 333"/>
                  <a:gd name="T27" fmla="*/ 99 h 863"/>
                  <a:gd name="T28" fmla="*/ 70 w 333"/>
                  <a:gd name="T29" fmla="*/ 703 h 863"/>
                  <a:gd name="T30" fmla="*/ 89 w 333"/>
                  <a:gd name="T31" fmla="*/ 734 h 863"/>
                  <a:gd name="T32" fmla="*/ 112 w 333"/>
                  <a:gd name="T33" fmla="*/ 703 h 863"/>
                  <a:gd name="T34" fmla="*/ 112 w 333"/>
                  <a:gd name="T35" fmla="*/ 443 h 863"/>
                  <a:gd name="T36" fmla="*/ 162 w 333"/>
                  <a:gd name="T37" fmla="*/ 394 h 863"/>
                  <a:gd name="T38" fmla="*/ 262 w 333"/>
                  <a:gd name="T39" fmla="*/ 394 h 863"/>
                  <a:gd name="T40" fmla="*/ 262 w 333"/>
                  <a:gd name="T41" fmla="*/ 71 h 863"/>
                  <a:gd name="T42" fmla="*/ 72 w 333"/>
                  <a:gd name="T43" fmla="*/ 71 h 8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33" h="863">
                    <a:moveTo>
                      <a:pt x="298" y="72"/>
                    </a:moveTo>
                    <a:cubicBezTo>
                      <a:pt x="298" y="86"/>
                      <a:pt x="298" y="99"/>
                      <a:pt x="298" y="111"/>
                    </a:cubicBezTo>
                    <a:cubicBezTo>
                      <a:pt x="298" y="315"/>
                      <a:pt x="298" y="519"/>
                      <a:pt x="298" y="723"/>
                    </a:cubicBezTo>
                    <a:cubicBezTo>
                      <a:pt x="298" y="803"/>
                      <a:pt x="243" y="862"/>
                      <a:pt x="168" y="863"/>
                    </a:cubicBezTo>
                    <a:cubicBezTo>
                      <a:pt x="94" y="863"/>
                      <a:pt x="35" y="803"/>
                      <a:pt x="35" y="723"/>
                    </a:cubicBezTo>
                    <a:cubicBezTo>
                      <a:pt x="34" y="519"/>
                      <a:pt x="34" y="315"/>
                      <a:pt x="34" y="111"/>
                    </a:cubicBezTo>
                    <a:cubicBezTo>
                      <a:pt x="34" y="98"/>
                      <a:pt x="34" y="86"/>
                      <a:pt x="34" y="72"/>
                    </a:cubicBezTo>
                    <a:cubicBezTo>
                      <a:pt x="22" y="71"/>
                      <a:pt x="12" y="70"/>
                      <a:pt x="0" y="68"/>
                    </a:cubicBezTo>
                    <a:cubicBezTo>
                      <a:pt x="0" y="47"/>
                      <a:pt x="0" y="24"/>
                      <a:pt x="0" y="0"/>
                    </a:cubicBezTo>
                    <a:cubicBezTo>
                      <a:pt x="110" y="0"/>
                      <a:pt x="221" y="0"/>
                      <a:pt x="333" y="0"/>
                    </a:cubicBezTo>
                    <a:cubicBezTo>
                      <a:pt x="333" y="23"/>
                      <a:pt x="333" y="45"/>
                      <a:pt x="333" y="68"/>
                    </a:cubicBezTo>
                    <a:cubicBezTo>
                      <a:pt x="322" y="69"/>
                      <a:pt x="312" y="70"/>
                      <a:pt x="298" y="72"/>
                    </a:cubicBezTo>
                    <a:close/>
                    <a:moveTo>
                      <a:pt x="72" y="71"/>
                    </a:moveTo>
                    <a:cubicBezTo>
                      <a:pt x="71" y="83"/>
                      <a:pt x="70" y="91"/>
                      <a:pt x="70" y="99"/>
                    </a:cubicBezTo>
                    <a:cubicBezTo>
                      <a:pt x="70" y="301"/>
                      <a:pt x="70" y="502"/>
                      <a:pt x="70" y="703"/>
                    </a:cubicBezTo>
                    <a:cubicBezTo>
                      <a:pt x="70" y="717"/>
                      <a:pt x="66" y="733"/>
                      <a:pt x="89" y="734"/>
                    </a:cubicBezTo>
                    <a:cubicBezTo>
                      <a:pt x="114" y="735"/>
                      <a:pt x="112" y="718"/>
                      <a:pt x="112" y="703"/>
                    </a:cubicBezTo>
                    <a:cubicBezTo>
                      <a:pt x="112" y="616"/>
                      <a:pt x="112" y="530"/>
                      <a:pt x="112" y="443"/>
                    </a:cubicBezTo>
                    <a:cubicBezTo>
                      <a:pt x="112" y="385"/>
                      <a:pt x="108" y="395"/>
                      <a:pt x="162" y="394"/>
                    </a:cubicBezTo>
                    <a:cubicBezTo>
                      <a:pt x="195" y="394"/>
                      <a:pt x="228" y="394"/>
                      <a:pt x="262" y="394"/>
                    </a:cubicBezTo>
                    <a:cubicBezTo>
                      <a:pt x="262" y="284"/>
                      <a:pt x="262" y="179"/>
                      <a:pt x="262" y="71"/>
                    </a:cubicBezTo>
                    <a:cubicBezTo>
                      <a:pt x="198" y="71"/>
                      <a:pt x="137" y="71"/>
                      <a:pt x="72" y="7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271" tIns="45635" rIns="91271" bIns="45635" numCol="1" anchor="t" anchorCtr="0" compatLnSpc="1">
                <a:prstTxWarp prst="textNoShape">
                  <a:avLst/>
                </a:prstTxWarp>
              </a:bodyPr>
              <a:lstStyle/>
              <a:p>
                <a:pPr defTabSz="533972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096" dirty="0">
                  <a:solidFill>
                    <a:srgbClr val="333333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73" name="Группа 72">
            <a:extLst>
              <a:ext uri="{FF2B5EF4-FFF2-40B4-BE49-F238E27FC236}">
                <a16:creationId xmlns:a16="http://schemas.microsoft.com/office/drawing/2014/main" id="{77DD55A4-63A6-4787-B7B5-3A0E3BD10E96}"/>
              </a:ext>
            </a:extLst>
          </p:cNvPr>
          <p:cNvGrpSpPr/>
          <p:nvPr/>
        </p:nvGrpSpPr>
        <p:grpSpPr>
          <a:xfrm>
            <a:off x="4933260" y="5521068"/>
            <a:ext cx="5560908" cy="522251"/>
            <a:chOff x="7106471" y="1499210"/>
            <a:chExt cx="5571225" cy="523220"/>
          </a:xfrm>
        </p:grpSpPr>
        <p:sp>
          <p:nvSpPr>
            <p:cNvPr id="74" name="Прямоугольник 73">
              <a:extLst>
                <a:ext uri="{FF2B5EF4-FFF2-40B4-BE49-F238E27FC236}">
                  <a16:creationId xmlns:a16="http://schemas.microsoft.com/office/drawing/2014/main" id="{7F96245D-E8DB-4E33-BA7F-EF9417E8890C}"/>
                </a:ext>
              </a:extLst>
            </p:cNvPr>
            <p:cNvSpPr/>
            <p:nvPr/>
          </p:nvSpPr>
          <p:spPr>
            <a:xfrm>
              <a:off x="7603807" y="1499210"/>
              <a:ext cx="5073889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533972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1397" b="1" dirty="0">
                  <a:solidFill>
                    <a:srgbClr val="33333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изнес – задача: создание сверхпрочных материалов </a:t>
              </a:r>
              <a:br>
                <a:rPr lang="ru-RU" sz="1397" b="1" dirty="0">
                  <a:solidFill>
                    <a:srgbClr val="33333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1397" b="1" dirty="0">
                  <a:solidFill>
                    <a:srgbClr val="33333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ля сейсмоустойчивого строительства</a:t>
              </a:r>
            </a:p>
          </p:txBody>
        </p:sp>
        <p:sp>
          <p:nvSpPr>
            <p:cNvPr id="75" name="Freeform 74">
              <a:extLst>
                <a:ext uri="{FF2B5EF4-FFF2-40B4-BE49-F238E27FC236}">
                  <a16:creationId xmlns:a16="http://schemas.microsoft.com/office/drawing/2014/main" id="{2AABAE9C-DF1F-41B2-957E-F1DB37C8FA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06471" y="1556282"/>
              <a:ext cx="441994" cy="415606"/>
            </a:xfrm>
            <a:custGeom>
              <a:avLst/>
              <a:gdLst/>
              <a:ahLst/>
              <a:cxnLst>
                <a:cxn ang="0">
                  <a:pos x="894" y="399"/>
                </a:cxn>
                <a:cxn ang="0">
                  <a:pos x="903" y="236"/>
                </a:cxn>
                <a:cxn ang="0">
                  <a:pos x="970" y="167"/>
                </a:cxn>
                <a:cxn ang="0">
                  <a:pos x="1010" y="167"/>
                </a:cxn>
                <a:cxn ang="0">
                  <a:pos x="1299" y="170"/>
                </a:cxn>
                <a:cxn ang="0">
                  <a:pos x="1587" y="167"/>
                </a:cxn>
                <a:cxn ang="0">
                  <a:pos x="1657" y="199"/>
                </a:cxn>
                <a:cxn ang="0">
                  <a:pos x="1673" y="253"/>
                </a:cxn>
                <a:cxn ang="0">
                  <a:pos x="1680" y="399"/>
                </a:cxn>
                <a:cxn ang="0">
                  <a:pos x="1818" y="348"/>
                </a:cxn>
                <a:cxn ang="0">
                  <a:pos x="1790" y="115"/>
                </a:cxn>
                <a:cxn ang="0">
                  <a:pos x="1587" y="2"/>
                </a:cxn>
                <a:cxn ang="0">
                  <a:pos x="1299" y="0"/>
                </a:cxn>
                <a:cxn ang="0">
                  <a:pos x="1010" y="2"/>
                </a:cxn>
                <a:cxn ang="0">
                  <a:pos x="940" y="7"/>
                </a:cxn>
                <a:cxn ang="0">
                  <a:pos x="754" y="228"/>
                </a:cxn>
                <a:cxn ang="0">
                  <a:pos x="761" y="402"/>
                </a:cxn>
                <a:cxn ang="0">
                  <a:pos x="953" y="1437"/>
                </a:cxn>
                <a:cxn ang="0">
                  <a:pos x="1243" y="1148"/>
                </a:cxn>
                <a:cxn ang="0">
                  <a:pos x="1613" y="1363"/>
                </a:cxn>
                <a:cxn ang="0">
                  <a:pos x="2478" y="1192"/>
                </a:cxn>
                <a:cxn ang="0">
                  <a:pos x="2567" y="997"/>
                </a:cxn>
                <a:cxn ang="0">
                  <a:pos x="2332" y="499"/>
                </a:cxn>
                <a:cxn ang="0">
                  <a:pos x="1685" y="474"/>
                </a:cxn>
                <a:cxn ang="0">
                  <a:pos x="766" y="477"/>
                </a:cxn>
                <a:cxn ang="0">
                  <a:pos x="53" y="667"/>
                </a:cxn>
                <a:cxn ang="0">
                  <a:pos x="6" y="1028"/>
                </a:cxn>
                <a:cxn ang="0">
                  <a:pos x="1623" y="1561"/>
                </a:cxn>
                <a:cxn ang="0">
                  <a:pos x="1332" y="1952"/>
                </a:cxn>
                <a:cxn ang="0">
                  <a:pos x="953" y="1662"/>
                </a:cxn>
                <a:cxn ang="0">
                  <a:pos x="41" y="1288"/>
                </a:cxn>
                <a:cxn ang="0">
                  <a:pos x="285" y="2386"/>
                </a:cxn>
                <a:cxn ang="0">
                  <a:pos x="2474" y="2224"/>
                </a:cxn>
                <a:cxn ang="0">
                  <a:pos x="1623" y="1561"/>
                </a:cxn>
                <a:cxn ang="0">
                  <a:pos x="1243" y="1245"/>
                </a:cxn>
                <a:cxn ang="0">
                  <a:pos x="1049" y="1438"/>
                </a:cxn>
                <a:cxn ang="0">
                  <a:pos x="1243" y="1855"/>
                </a:cxn>
                <a:cxn ang="0">
                  <a:pos x="1526" y="1662"/>
                </a:cxn>
                <a:cxn ang="0">
                  <a:pos x="1515" y="1372"/>
                </a:cxn>
              </a:cxnLst>
              <a:rect l="0" t="0" r="r" b="b"/>
              <a:pathLst>
                <a:path w="2576" h="2422">
                  <a:moveTo>
                    <a:pt x="761" y="402"/>
                  </a:moveTo>
                  <a:cubicBezTo>
                    <a:pt x="806" y="401"/>
                    <a:pt x="850" y="399"/>
                    <a:pt x="894" y="399"/>
                  </a:cubicBezTo>
                  <a:cubicBezTo>
                    <a:pt x="896" y="375"/>
                    <a:pt x="897" y="352"/>
                    <a:pt x="898" y="327"/>
                  </a:cubicBezTo>
                  <a:cubicBezTo>
                    <a:pt x="900" y="298"/>
                    <a:pt x="901" y="261"/>
                    <a:pt x="903" y="236"/>
                  </a:cubicBezTo>
                  <a:cubicBezTo>
                    <a:pt x="905" y="219"/>
                    <a:pt x="913" y="203"/>
                    <a:pt x="924" y="190"/>
                  </a:cubicBezTo>
                  <a:cubicBezTo>
                    <a:pt x="936" y="178"/>
                    <a:pt x="953" y="170"/>
                    <a:pt x="970" y="167"/>
                  </a:cubicBezTo>
                  <a:cubicBezTo>
                    <a:pt x="974" y="167"/>
                    <a:pt x="978" y="166"/>
                    <a:pt x="983" y="166"/>
                  </a:cubicBezTo>
                  <a:cubicBezTo>
                    <a:pt x="991" y="167"/>
                    <a:pt x="1001" y="167"/>
                    <a:pt x="1010" y="167"/>
                  </a:cubicBezTo>
                  <a:cubicBezTo>
                    <a:pt x="1028" y="167"/>
                    <a:pt x="1047" y="168"/>
                    <a:pt x="1066" y="168"/>
                  </a:cubicBezTo>
                  <a:cubicBezTo>
                    <a:pt x="1141" y="169"/>
                    <a:pt x="1219" y="170"/>
                    <a:pt x="1299" y="170"/>
                  </a:cubicBezTo>
                  <a:cubicBezTo>
                    <a:pt x="1378" y="170"/>
                    <a:pt x="1456" y="169"/>
                    <a:pt x="1532" y="168"/>
                  </a:cubicBezTo>
                  <a:cubicBezTo>
                    <a:pt x="1550" y="168"/>
                    <a:pt x="1569" y="167"/>
                    <a:pt x="1587" y="167"/>
                  </a:cubicBezTo>
                  <a:cubicBezTo>
                    <a:pt x="1601" y="167"/>
                    <a:pt x="1606" y="167"/>
                    <a:pt x="1616" y="170"/>
                  </a:cubicBezTo>
                  <a:cubicBezTo>
                    <a:pt x="1632" y="174"/>
                    <a:pt x="1647" y="185"/>
                    <a:pt x="1657" y="199"/>
                  </a:cubicBezTo>
                  <a:cubicBezTo>
                    <a:pt x="1663" y="206"/>
                    <a:pt x="1667" y="213"/>
                    <a:pt x="1669" y="222"/>
                  </a:cubicBezTo>
                  <a:cubicBezTo>
                    <a:pt x="1671" y="232"/>
                    <a:pt x="1673" y="233"/>
                    <a:pt x="1673" y="253"/>
                  </a:cubicBezTo>
                  <a:cubicBezTo>
                    <a:pt x="1674" y="286"/>
                    <a:pt x="1676" y="318"/>
                    <a:pt x="1677" y="348"/>
                  </a:cubicBezTo>
                  <a:cubicBezTo>
                    <a:pt x="1678" y="365"/>
                    <a:pt x="1679" y="382"/>
                    <a:pt x="1680" y="399"/>
                  </a:cubicBezTo>
                  <a:cubicBezTo>
                    <a:pt x="1725" y="399"/>
                    <a:pt x="1770" y="401"/>
                    <a:pt x="1816" y="402"/>
                  </a:cubicBezTo>
                  <a:cubicBezTo>
                    <a:pt x="1817" y="384"/>
                    <a:pt x="1817" y="367"/>
                    <a:pt x="1818" y="348"/>
                  </a:cubicBezTo>
                  <a:cubicBezTo>
                    <a:pt x="1820" y="318"/>
                    <a:pt x="1821" y="286"/>
                    <a:pt x="1823" y="253"/>
                  </a:cubicBezTo>
                  <a:cubicBezTo>
                    <a:pt x="1826" y="218"/>
                    <a:pt x="1818" y="156"/>
                    <a:pt x="1790" y="115"/>
                  </a:cubicBezTo>
                  <a:cubicBezTo>
                    <a:pt x="1763" y="70"/>
                    <a:pt x="1720" y="34"/>
                    <a:pt x="1667" y="16"/>
                  </a:cubicBezTo>
                  <a:cubicBezTo>
                    <a:pt x="1642" y="6"/>
                    <a:pt x="1610" y="2"/>
                    <a:pt x="1587" y="2"/>
                  </a:cubicBezTo>
                  <a:cubicBezTo>
                    <a:pt x="1569" y="2"/>
                    <a:pt x="1550" y="2"/>
                    <a:pt x="1532" y="1"/>
                  </a:cubicBezTo>
                  <a:cubicBezTo>
                    <a:pt x="1456" y="0"/>
                    <a:pt x="1378" y="0"/>
                    <a:pt x="1299" y="0"/>
                  </a:cubicBezTo>
                  <a:cubicBezTo>
                    <a:pt x="1219" y="0"/>
                    <a:pt x="1141" y="0"/>
                    <a:pt x="1066" y="1"/>
                  </a:cubicBezTo>
                  <a:cubicBezTo>
                    <a:pt x="1047" y="2"/>
                    <a:pt x="1028" y="2"/>
                    <a:pt x="1010" y="2"/>
                  </a:cubicBezTo>
                  <a:cubicBezTo>
                    <a:pt x="1000" y="2"/>
                    <a:pt x="992" y="3"/>
                    <a:pt x="981" y="3"/>
                  </a:cubicBezTo>
                  <a:cubicBezTo>
                    <a:pt x="967" y="3"/>
                    <a:pt x="954" y="5"/>
                    <a:pt x="940" y="7"/>
                  </a:cubicBezTo>
                  <a:cubicBezTo>
                    <a:pt x="886" y="18"/>
                    <a:pt x="838" y="48"/>
                    <a:pt x="805" y="89"/>
                  </a:cubicBezTo>
                  <a:cubicBezTo>
                    <a:pt x="772" y="129"/>
                    <a:pt x="754" y="179"/>
                    <a:pt x="754" y="228"/>
                  </a:cubicBezTo>
                  <a:cubicBezTo>
                    <a:pt x="754" y="268"/>
                    <a:pt x="756" y="295"/>
                    <a:pt x="757" y="327"/>
                  </a:cubicBezTo>
                  <a:cubicBezTo>
                    <a:pt x="759" y="353"/>
                    <a:pt x="760" y="378"/>
                    <a:pt x="761" y="402"/>
                  </a:cubicBezTo>
                  <a:close/>
                  <a:moveTo>
                    <a:pt x="98" y="1192"/>
                  </a:moveTo>
                  <a:cubicBezTo>
                    <a:pt x="359" y="1316"/>
                    <a:pt x="647" y="1401"/>
                    <a:pt x="953" y="1437"/>
                  </a:cubicBezTo>
                  <a:cubicBezTo>
                    <a:pt x="953" y="1412"/>
                    <a:pt x="956" y="1387"/>
                    <a:pt x="963" y="1363"/>
                  </a:cubicBezTo>
                  <a:cubicBezTo>
                    <a:pt x="996" y="1239"/>
                    <a:pt x="1109" y="1148"/>
                    <a:pt x="1243" y="1148"/>
                  </a:cubicBezTo>
                  <a:cubicBezTo>
                    <a:pt x="1332" y="1148"/>
                    <a:pt x="1332" y="1148"/>
                    <a:pt x="1332" y="1148"/>
                  </a:cubicBezTo>
                  <a:cubicBezTo>
                    <a:pt x="1467" y="1148"/>
                    <a:pt x="1580" y="1239"/>
                    <a:pt x="1613" y="1363"/>
                  </a:cubicBezTo>
                  <a:cubicBezTo>
                    <a:pt x="1619" y="1387"/>
                    <a:pt x="1623" y="1412"/>
                    <a:pt x="1623" y="1437"/>
                  </a:cubicBezTo>
                  <a:cubicBezTo>
                    <a:pt x="1928" y="1401"/>
                    <a:pt x="2217" y="1316"/>
                    <a:pt x="2478" y="1192"/>
                  </a:cubicBezTo>
                  <a:cubicBezTo>
                    <a:pt x="2534" y="1165"/>
                    <a:pt x="2576" y="1090"/>
                    <a:pt x="2570" y="1028"/>
                  </a:cubicBezTo>
                  <a:cubicBezTo>
                    <a:pt x="2569" y="1018"/>
                    <a:pt x="2568" y="1007"/>
                    <a:pt x="2567" y="997"/>
                  </a:cubicBezTo>
                  <a:cubicBezTo>
                    <a:pt x="2556" y="887"/>
                    <a:pt x="2541" y="777"/>
                    <a:pt x="2522" y="667"/>
                  </a:cubicBezTo>
                  <a:cubicBezTo>
                    <a:pt x="2508" y="579"/>
                    <a:pt x="2421" y="503"/>
                    <a:pt x="2332" y="499"/>
                  </a:cubicBezTo>
                  <a:cubicBezTo>
                    <a:pt x="2158" y="489"/>
                    <a:pt x="1984" y="482"/>
                    <a:pt x="1811" y="477"/>
                  </a:cubicBezTo>
                  <a:cubicBezTo>
                    <a:pt x="1769" y="476"/>
                    <a:pt x="1727" y="475"/>
                    <a:pt x="1685" y="474"/>
                  </a:cubicBezTo>
                  <a:cubicBezTo>
                    <a:pt x="1420" y="469"/>
                    <a:pt x="1155" y="469"/>
                    <a:pt x="890" y="474"/>
                  </a:cubicBezTo>
                  <a:cubicBezTo>
                    <a:pt x="848" y="475"/>
                    <a:pt x="807" y="476"/>
                    <a:pt x="766" y="477"/>
                  </a:cubicBezTo>
                  <a:cubicBezTo>
                    <a:pt x="592" y="482"/>
                    <a:pt x="418" y="489"/>
                    <a:pt x="244" y="499"/>
                  </a:cubicBezTo>
                  <a:cubicBezTo>
                    <a:pt x="155" y="503"/>
                    <a:pt x="68" y="579"/>
                    <a:pt x="53" y="667"/>
                  </a:cubicBezTo>
                  <a:cubicBezTo>
                    <a:pt x="34" y="777"/>
                    <a:pt x="20" y="887"/>
                    <a:pt x="9" y="997"/>
                  </a:cubicBezTo>
                  <a:cubicBezTo>
                    <a:pt x="8" y="1007"/>
                    <a:pt x="7" y="1018"/>
                    <a:pt x="6" y="1028"/>
                  </a:cubicBezTo>
                  <a:cubicBezTo>
                    <a:pt x="0" y="1090"/>
                    <a:pt x="41" y="1165"/>
                    <a:pt x="98" y="1192"/>
                  </a:cubicBezTo>
                  <a:close/>
                  <a:moveTo>
                    <a:pt x="1623" y="1561"/>
                  </a:moveTo>
                  <a:cubicBezTo>
                    <a:pt x="1623" y="1662"/>
                    <a:pt x="1623" y="1662"/>
                    <a:pt x="1623" y="1662"/>
                  </a:cubicBezTo>
                  <a:cubicBezTo>
                    <a:pt x="1623" y="1822"/>
                    <a:pt x="1493" y="1952"/>
                    <a:pt x="1332" y="1952"/>
                  </a:cubicBezTo>
                  <a:cubicBezTo>
                    <a:pt x="1243" y="1952"/>
                    <a:pt x="1243" y="1952"/>
                    <a:pt x="1243" y="1952"/>
                  </a:cubicBezTo>
                  <a:cubicBezTo>
                    <a:pt x="1083" y="1952"/>
                    <a:pt x="953" y="1822"/>
                    <a:pt x="953" y="1662"/>
                  </a:cubicBezTo>
                  <a:cubicBezTo>
                    <a:pt x="953" y="1561"/>
                    <a:pt x="953" y="1561"/>
                    <a:pt x="953" y="1561"/>
                  </a:cubicBezTo>
                  <a:cubicBezTo>
                    <a:pt x="625" y="1522"/>
                    <a:pt x="317" y="1427"/>
                    <a:pt x="41" y="1288"/>
                  </a:cubicBezTo>
                  <a:cubicBezTo>
                    <a:pt x="28" y="1599"/>
                    <a:pt x="48" y="1909"/>
                    <a:pt x="102" y="2224"/>
                  </a:cubicBezTo>
                  <a:cubicBezTo>
                    <a:pt x="116" y="2308"/>
                    <a:pt x="200" y="2381"/>
                    <a:pt x="285" y="2386"/>
                  </a:cubicBezTo>
                  <a:cubicBezTo>
                    <a:pt x="954" y="2422"/>
                    <a:pt x="1621" y="2422"/>
                    <a:pt x="2290" y="2386"/>
                  </a:cubicBezTo>
                  <a:cubicBezTo>
                    <a:pt x="2376" y="2381"/>
                    <a:pt x="2459" y="2308"/>
                    <a:pt x="2474" y="2224"/>
                  </a:cubicBezTo>
                  <a:cubicBezTo>
                    <a:pt x="2527" y="1909"/>
                    <a:pt x="2548" y="1599"/>
                    <a:pt x="2535" y="1288"/>
                  </a:cubicBezTo>
                  <a:cubicBezTo>
                    <a:pt x="2258" y="1427"/>
                    <a:pt x="1950" y="1522"/>
                    <a:pt x="1623" y="1561"/>
                  </a:cubicBezTo>
                  <a:close/>
                  <a:moveTo>
                    <a:pt x="1332" y="1245"/>
                  </a:moveTo>
                  <a:cubicBezTo>
                    <a:pt x="1243" y="1245"/>
                    <a:pt x="1243" y="1245"/>
                    <a:pt x="1243" y="1245"/>
                  </a:cubicBezTo>
                  <a:cubicBezTo>
                    <a:pt x="1159" y="1245"/>
                    <a:pt x="1088" y="1298"/>
                    <a:pt x="1061" y="1372"/>
                  </a:cubicBezTo>
                  <a:cubicBezTo>
                    <a:pt x="1054" y="1393"/>
                    <a:pt x="1049" y="1415"/>
                    <a:pt x="1049" y="1438"/>
                  </a:cubicBezTo>
                  <a:cubicBezTo>
                    <a:pt x="1049" y="1662"/>
                    <a:pt x="1049" y="1662"/>
                    <a:pt x="1049" y="1662"/>
                  </a:cubicBezTo>
                  <a:cubicBezTo>
                    <a:pt x="1049" y="1769"/>
                    <a:pt x="1136" y="1855"/>
                    <a:pt x="1243" y="1855"/>
                  </a:cubicBezTo>
                  <a:cubicBezTo>
                    <a:pt x="1332" y="1855"/>
                    <a:pt x="1332" y="1855"/>
                    <a:pt x="1332" y="1855"/>
                  </a:cubicBezTo>
                  <a:cubicBezTo>
                    <a:pt x="1439" y="1855"/>
                    <a:pt x="1526" y="1769"/>
                    <a:pt x="1526" y="1662"/>
                  </a:cubicBezTo>
                  <a:cubicBezTo>
                    <a:pt x="1526" y="1438"/>
                    <a:pt x="1526" y="1438"/>
                    <a:pt x="1526" y="1438"/>
                  </a:cubicBezTo>
                  <a:cubicBezTo>
                    <a:pt x="1526" y="1415"/>
                    <a:pt x="1522" y="1393"/>
                    <a:pt x="1515" y="1372"/>
                  </a:cubicBezTo>
                  <a:cubicBezTo>
                    <a:pt x="1488" y="1298"/>
                    <a:pt x="1416" y="1245"/>
                    <a:pt x="1332" y="1245"/>
                  </a:cubicBez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4157" tIns="37079" rIns="74157" bIns="37079" numCol="1" anchor="t" anchorCtr="0" compatLnSpc="1">
              <a:prstTxWarp prst="textNoShape">
                <a:avLst/>
              </a:prstTxWarp>
            </a:bodyPr>
            <a:lstStyle/>
            <a:p>
              <a:pPr defTabSz="53397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6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76" name="TextBox 75">
            <a:extLst>
              <a:ext uri="{FF2B5EF4-FFF2-40B4-BE49-F238E27FC236}">
                <a16:creationId xmlns:a16="http://schemas.microsoft.com/office/drawing/2014/main" id="{B44243D5-3823-4912-9354-A67F05E3A542}"/>
              </a:ext>
            </a:extLst>
          </p:cNvPr>
          <p:cNvSpPr txBox="1"/>
          <p:nvPr/>
        </p:nvSpPr>
        <p:spPr>
          <a:xfrm>
            <a:off x="1633855" y="6530265"/>
            <a:ext cx="7728603" cy="2304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5339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898" i="1" dirty="0">
                <a:solidFill>
                  <a:prstClr val="white">
                    <a:lumMod val="50000"/>
                  </a:prstClr>
                </a:solidFill>
                <a:latin typeface="Arial"/>
                <a:cs typeface="Arial" panose="020B0604020202020204" pitchFamily="34" charset="0"/>
              </a:rPr>
              <a:t>Источник: Долгосрочный прогноз научно-технологического развития России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04FD4131-CA01-44E8-A0DC-BD6E2C69D9D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606585" y="1708001"/>
            <a:ext cx="4953429" cy="3429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213536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28E658DC-6BFB-452F-B4FA-19A9093595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1057" y="1585"/>
          <a:ext cx="1585" cy="1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425" imgH="426" progId="TCLayout.ActiveDocument.1">
                  <p:embed/>
                </p:oleObj>
              </mc:Choice>
              <mc:Fallback>
                <p:oleObj name="Слайд think-cell" r:id="rId4" imgW="425" imgH="426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28E658DC-6BFB-452F-B4FA-19A9093595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1057" y="1585"/>
                        <a:ext cx="1585" cy="1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 hidden="1">
            <a:extLst>
              <a:ext uri="{FF2B5EF4-FFF2-40B4-BE49-F238E27FC236}">
                <a16:creationId xmlns:a16="http://schemas.microsoft.com/office/drawing/2014/main" id="{F99F9E62-7A9C-494D-B2C0-C1CC72FF7B2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39472" y="0"/>
            <a:ext cx="158456" cy="158456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533972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2296" dirty="0">
              <a:solidFill>
                <a:prstClr val="white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FF8EB042-C801-4154-983E-35AECED0E7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500" y="146051"/>
            <a:ext cx="11506200" cy="838199"/>
          </a:xfrm>
        </p:spPr>
        <p:txBody>
          <a:bodyPr vert="horz"/>
          <a:lstStyle/>
          <a:p>
            <a:r>
              <a:rPr lang="ru-RU" sz="2500" b="1" dirty="0"/>
              <a:t>Оценка уровня научных исследований по перспективным технологиям в мире и в России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D7190444-E090-47A7-837B-ED01A3DD23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533972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FC53B5C6-9314-4524-AC64-03D02BB042E3}" type="slidenum">
              <a:rPr lang="ru-RU" altLang="ru-RU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533972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18</a:t>
            </a:fld>
            <a:endParaRPr lang="ru-RU" altLang="ru-RU" dirty="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6128" name="Рисунок 176127">
            <a:extLst>
              <a:ext uri="{FF2B5EF4-FFF2-40B4-BE49-F238E27FC236}">
                <a16:creationId xmlns:a16="http://schemas.microsoft.com/office/drawing/2014/main" id="{DDCC5AD2-8318-4707-AFB1-FF17F9EBE7F8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4709"/>
          <a:stretch/>
        </p:blipFill>
        <p:spPr>
          <a:xfrm>
            <a:off x="1633856" y="1161627"/>
            <a:ext cx="8676266" cy="5222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084091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732C6F1F-01F4-4513-921A-9AC1AEF97B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BCAC624-16D2-4128-B166-382811E57774}" type="slidenum">
              <a:rPr lang="ru-RU" smtClean="0"/>
              <a:pPr>
                <a:defRPr/>
              </a:pPr>
              <a:t>19</a:t>
            </a:fld>
            <a:endParaRPr lang="ru-R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0DF623-8BD1-4C3D-96E0-C0B442F7B61F}"/>
              </a:ext>
            </a:extLst>
          </p:cNvPr>
          <p:cNvSpPr txBox="1"/>
          <p:nvPr/>
        </p:nvSpPr>
        <p:spPr>
          <a:xfrm>
            <a:off x="139700" y="69850"/>
            <a:ext cx="8153400" cy="8679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2480">
              <a:lnSpc>
                <a:spcPct val="90000"/>
              </a:lnSpc>
              <a:spcBef>
                <a:spcPct val="0"/>
              </a:spcBef>
            </a:pPr>
            <a:r>
              <a:rPr lang="ru-RU" sz="2800" dirty="0"/>
              <a:t>МОДЕЛЬ КАДРОВОГО ОБЕСПЕЧЕНИЯ – «КОРОБОЧНЫЙ» ПРОДУКТ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AB0EC6F7-5C2E-4879-9E23-B90CB6E6D4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40700" y="10755"/>
            <a:ext cx="3963736" cy="676469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7EC1FB5-2C26-459C-8DED-A37033B4879E}"/>
              </a:ext>
            </a:extLst>
          </p:cNvPr>
          <p:cNvSpPr txBox="1"/>
          <p:nvPr/>
        </p:nvSpPr>
        <p:spPr>
          <a:xfrm>
            <a:off x="8293100" y="69851"/>
            <a:ext cx="3733800" cy="65556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ПРИНЦИПЫ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r>
              <a:rPr lang="ru-RU" sz="1600" dirty="0">
                <a:solidFill>
                  <a:schemeClr val="bg1"/>
                </a:solidFill>
              </a:rPr>
              <a:t>Междисциплинарные команды</a:t>
            </a:r>
          </a:p>
          <a:p>
            <a:endParaRPr lang="ru-RU" sz="1600" dirty="0">
              <a:solidFill>
                <a:schemeClr val="bg1"/>
              </a:solidFill>
            </a:endParaRPr>
          </a:p>
          <a:p>
            <a:r>
              <a:rPr lang="ru-RU" sz="1600" dirty="0">
                <a:solidFill>
                  <a:schemeClr val="bg1"/>
                </a:solidFill>
              </a:rPr>
              <a:t>Изменение подходов в подготовке кадров через людей, которые  вовлекаются в этот процесс</a:t>
            </a:r>
            <a:endParaRPr lang="en-US" sz="1600" dirty="0">
              <a:solidFill>
                <a:schemeClr val="bg1"/>
              </a:solidFill>
            </a:endParaRPr>
          </a:p>
          <a:p>
            <a:endParaRPr lang="ru-RU" sz="1600" dirty="0">
              <a:solidFill>
                <a:schemeClr val="bg1"/>
              </a:solidFill>
            </a:endParaRPr>
          </a:p>
          <a:p>
            <a:r>
              <a:rPr lang="ru-RU" sz="1600" dirty="0">
                <a:solidFill>
                  <a:schemeClr val="bg1"/>
                </a:solidFill>
              </a:rPr>
              <a:t>Полный жизненный цикл технологического решения, управления квалификациями: </a:t>
            </a:r>
          </a:p>
          <a:p>
            <a:r>
              <a:rPr lang="ru-RU" sz="1600" dirty="0">
                <a:solidFill>
                  <a:schemeClr val="bg1"/>
                </a:solidFill>
              </a:rPr>
              <a:t>от идеи до продукта посредством «сборки» команд, от выявления до применения под условия и задачи,</a:t>
            </a:r>
          </a:p>
          <a:p>
            <a:endParaRPr lang="ru-RU" sz="1600" dirty="0">
              <a:solidFill>
                <a:schemeClr val="bg1"/>
              </a:solidFill>
            </a:endParaRPr>
          </a:p>
          <a:p>
            <a:r>
              <a:rPr lang="ru-RU" sz="1600" dirty="0">
                <a:solidFill>
                  <a:schemeClr val="bg1"/>
                </a:solidFill>
              </a:rPr>
              <a:t>Адаптивность к запросам разных групп потребителей: </a:t>
            </a:r>
          </a:p>
          <a:p>
            <a:r>
              <a:rPr lang="en-US" sz="1600" dirty="0">
                <a:solidFill>
                  <a:schemeClr val="bg1"/>
                </a:solidFill>
              </a:rPr>
              <a:t>B2B, B2C, B2G</a:t>
            </a:r>
          </a:p>
          <a:p>
            <a:endParaRPr lang="ru-RU" sz="1600" dirty="0">
              <a:solidFill>
                <a:schemeClr val="bg1"/>
              </a:solidFill>
            </a:endParaRPr>
          </a:p>
          <a:p>
            <a:r>
              <a:rPr lang="ru-RU" sz="1600" dirty="0">
                <a:solidFill>
                  <a:schemeClr val="bg1"/>
                </a:solidFill>
              </a:rPr>
              <a:t>Точка сборки (МЦОК), Центр компетенций</a:t>
            </a:r>
          </a:p>
          <a:p>
            <a:endParaRPr lang="ru-RU" sz="1600" dirty="0">
              <a:solidFill>
                <a:schemeClr val="bg1"/>
              </a:solidFill>
            </a:endParaRPr>
          </a:p>
          <a:p>
            <a:r>
              <a:rPr lang="ru-RU" sz="1600" dirty="0">
                <a:solidFill>
                  <a:schemeClr val="bg1"/>
                </a:solidFill>
              </a:rPr>
              <a:t>Тиражируемость</a:t>
            </a:r>
          </a:p>
          <a:p>
            <a:endParaRPr lang="ru-RU" sz="1600" dirty="0">
              <a:solidFill>
                <a:schemeClr val="bg1"/>
              </a:solidFill>
            </a:endParaRPr>
          </a:p>
          <a:p>
            <a:r>
              <a:rPr lang="ru-RU" sz="1600" dirty="0">
                <a:solidFill>
                  <a:schemeClr val="bg1"/>
                </a:solidFill>
              </a:rPr>
              <a:t>Способность быть экосистемой, создавать длинные цепочки</a:t>
            </a:r>
            <a:endParaRPr lang="ru-RU" dirty="0">
              <a:solidFill>
                <a:schemeClr val="bg1"/>
              </a:solidFill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163F7DA0-7D9D-4C94-8485-3AEE46170AD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8244" y="1016651"/>
            <a:ext cx="7575314" cy="342309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B28A1466-0BC8-4BEB-8B63-8357714FBAAA}"/>
              </a:ext>
            </a:extLst>
          </p:cNvPr>
          <p:cNvSpPr txBox="1"/>
          <p:nvPr/>
        </p:nvSpPr>
        <p:spPr>
          <a:xfrm>
            <a:off x="292100" y="4870451"/>
            <a:ext cx="772771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dirty="0"/>
              <a:t>МКО как платформа позволяет инновационной компании </a:t>
            </a:r>
            <a:r>
              <a:rPr lang="ru-RU" b="1" dirty="0"/>
              <a:t>создавать</a:t>
            </a:r>
            <a:r>
              <a:rPr lang="ru-RU" dirty="0"/>
              <a:t> </a:t>
            </a:r>
            <a:r>
              <a:rPr lang="ru-RU" b="1" dirty="0"/>
              <a:t>ценности</a:t>
            </a:r>
            <a:r>
              <a:rPr lang="ru-RU" dirty="0"/>
              <a:t> в рамках платформы, есть </a:t>
            </a:r>
            <a:r>
              <a:rPr lang="ru-RU" b="1" dirty="0"/>
              <a:t>владелец</a:t>
            </a:r>
            <a:r>
              <a:rPr lang="ru-RU" dirty="0"/>
              <a:t> </a:t>
            </a:r>
            <a:r>
              <a:rPr lang="ru-RU" b="1" dirty="0"/>
              <a:t>инфраструктуры</a:t>
            </a:r>
            <a:r>
              <a:rPr lang="ru-RU" dirty="0"/>
              <a:t> платформы, специалисты и команды </a:t>
            </a:r>
            <a:r>
              <a:rPr lang="ru-RU" b="1" dirty="0"/>
              <a:t>потребляют ценность </a:t>
            </a:r>
            <a:r>
              <a:rPr lang="ru-RU" dirty="0"/>
              <a:t>в рамках платформы, партнеры могут </a:t>
            </a:r>
            <a:r>
              <a:rPr lang="ru-RU" b="1" dirty="0"/>
              <a:t>делать вклад </a:t>
            </a:r>
            <a:r>
              <a:rPr lang="ru-RU" dirty="0"/>
              <a:t>в развитие платформы</a:t>
            </a:r>
          </a:p>
        </p:txBody>
      </p:sp>
    </p:spTree>
    <p:extLst>
      <p:ext uri="{BB962C8B-B14F-4D97-AF65-F5344CB8AC3E}">
        <p14:creationId xmlns:p14="http://schemas.microsoft.com/office/powerpoint/2010/main" val="29348948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3B5FD7AD-371A-4B05-85F9-614A2E10D1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CAC624-16D2-4128-B166-382811E57774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3" name="Объект 2">
            <a:extLst>
              <a:ext uri="{FF2B5EF4-FFF2-40B4-BE49-F238E27FC236}">
                <a16:creationId xmlns:a16="http://schemas.microsoft.com/office/drawing/2014/main" id="{31CCA53C-DDE8-43DE-B79C-27205700273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53626538"/>
              </p:ext>
            </p:extLst>
          </p:nvPr>
        </p:nvGraphicFramePr>
        <p:xfrm>
          <a:off x="901700" y="223721"/>
          <a:ext cx="10668000" cy="64762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r:id="rId2" imgW="7943805" imgH="5533833" progId="AcroExch.Document.11">
                  <p:embed/>
                </p:oleObj>
              </mc:Choice>
              <mc:Fallback>
                <p:oleObj name="Acrobat Document" r:id="rId2" imgW="7943805" imgH="5533833" progId="AcroExch.Document.11">
                  <p:embed/>
                  <p:pic>
                    <p:nvPicPr>
                      <p:cNvPr id="3" name="Объект 2">
                        <a:extLst>
                          <a:ext uri="{FF2B5EF4-FFF2-40B4-BE49-F238E27FC236}">
                            <a16:creationId xmlns:a16="http://schemas.microsoft.com/office/drawing/2014/main" id="{31CCA53C-DDE8-43DE-B79C-2720570027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901700" y="223721"/>
                        <a:ext cx="10668000" cy="64762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009DDDA-25F1-4536-9BBC-7D3FE4B98E3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5901" y="223721"/>
            <a:ext cx="3352800" cy="811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810799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6525BCF4-F903-4EB6-94A7-CF3F2CC6F0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54A1E0-1654-4A7F-AA48-6C9BE68E3732}" type="slidenum">
              <a:rPr lang="ru-RU" smtClean="0"/>
              <a:t>20</a:t>
            </a:fld>
            <a:endParaRPr lang="ru-RU" dirty="0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0230970C-B65C-4DC8-A2CF-ECB58D3D2F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4500" y="541712"/>
            <a:ext cx="11010008" cy="6200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219880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A0831853-65B1-4D9B-99D5-956BFFB99E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54A1E0-1654-4A7F-AA48-6C9BE68E3732}" type="slidenum">
              <a:rPr lang="ru-RU" smtClean="0"/>
              <a:t>21</a:t>
            </a:fld>
            <a:endParaRPr lang="ru-RU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C39E706-EE66-4C65-B738-6B5B575D5CB6}"/>
              </a:ext>
            </a:extLst>
          </p:cNvPr>
          <p:cNvSpPr txBox="1"/>
          <p:nvPr/>
        </p:nvSpPr>
        <p:spPr>
          <a:xfrm>
            <a:off x="139700" y="30227"/>
            <a:ext cx="7086600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800" dirty="0"/>
              <a:t>ТИРАЖИРОВАНИЕ </a:t>
            </a:r>
            <a:r>
              <a:rPr lang="ru-RU" sz="2800" kern="0" dirty="0">
                <a:latin typeface="Calibri" panose="020F0502020204030204" pitchFamily="34" charset="0"/>
                <a:ea typeface="Yu Gothic UI" panose="020B0500000000000000" pitchFamily="34" charset="-128"/>
                <a:cs typeface="Calibri" panose="020F0502020204030204" pitchFamily="34" charset="0"/>
                <a:sym typeface="Helvetica"/>
              </a:rPr>
              <a:t>«ПАКЕТНЫХ» РЕШЕНИЙ</a:t>
            </a:r>
          </a:p>
          <a:p>
            <a:endParaRPr lang="ru-RU" sz="2800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5F80FEC4-9BA4-4647-960A-2A800549B9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13533" y="30226"/>
            <a:ext cx="3553067" cy="674522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F914978-98BE-477C-82EA-69ACEA2022FB}"/>
              </a:ext>
            </a:extLst>
          </p:cNvPr>
          <p:cNvSpPr txBox="1"/>
          <p:nvPr/>
        </p:nvSpPr>
        <p:spPr>
          <a:xfrm>
            <a:off x="8750300" y="136272"/>
            <a:ext cx="3194684" cy="64940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kern="0" dirty="0">
                <a:solidFill>
                  <a:schemeClr val="bg1"/>
                </a:solidFill>
                <a:ea typeface="Yu Gothic UI" panose="020B0500000000000000" pitchFamily="34" charset="-128"/>
                <a:sym typeface="Helvetica"/>
              </a:rPr>
              <a:t>Пакет апробированных решений</a:t>
            </a:r>
            <a:r>
              <a:rPr lang="en-US" b="1" kern="0" dirty="0">
                <a:solidFill>
                  <a:schemeClr val="bg1"/>
                </a:solidFill>
                <a:ea typeface="Yu Gothic UI" panose="020B0500000000000000" pitchFamily="34" charset="-128"/>
                <a:sym typeface="Helvetica"/>
              </a:rPr>
              <a:t>:</a:t>
            </a:r>
            <a:r>
              <a:rPr lang="ru-RU" b="1" kern="0" dirty="0">
                <a:solidFill>
                  <a:schemeClr val="bg1"/>
                </a:solidFill>
                <a:ea typeface="Yu Gothic UI" panose="020B0500000000000000" pitchFamily="34" charset="-128"/>
                <a:sym typeface="Helvetica"/>
              </a:rPr>
              <a:t> </a:t>
            </a:r>
          </a:p>
          <a:p>
            <a:pPr>
              <a:defRPr/>
            </a:pPr>
            <a:r>
              <a:rPr lang="ru-RU" b="1" kern="0" dirty="0">
                <a:solidFill>
                  <a:schemeClr val="bg1"/>
                </a:solidFill>
                <a:ea typeface="Yu Gothic UI" panose="020B0500000000000000" pitchFamily="34" charset="-128"/>
                <a:sym typeface="Helvetica"/>
              </a:rPr>
              <a:t>методики, программы, расчёты, схемы, процессы, инструменты</a:t>
            </a:r>
          </a:p>
          <a:p>
            <a:pPr>
              <a:defRPr/>
            </a:pPr>
            <a:endParaRPr lang="ru-RU" b="1" kern="0" dirty="0">
              <a:solidFill>
                <a:schemeClr val="bg1"/>
              </a:solidFill>
              <a:ea typeface="Yu Gothic UI" panose="020B0500000000000000" pitchFamily="34" charset="-128"/>
              <a:sym typeface="Helvetica"/>
            </a:endParaRPr>
          </a:p>
          <a:p>
            <a:pPr>
              <a:defRPr/>
            </a:pPr>
            <a:r>
              <a:rPr lang="ru-RU" b="1" kern="0" dirty="0">
                <a:solidFill>
                  <a:schemeClr val="bg1"/>
                </a:solidFill>
                <a:ea typeface="Yu Gothic UI" panose="020B0500000000000000" pitchFamily="34" charset="-128"/>
                <a:sym typeface="Helvetica"/>
              </a:rPr>
              <a:t>Образцы решений (кейсы)</a:t>
            </a:r>
          </a:p>
          <a:p>
            <a:pPr>
              <a:defRPr/>
            </a:pPr>
            <a:endParaRPr lang="ru-RU" b="1" kern="0" dirty="0">
              <a:solidFill>
                <a:schemeClr val="bg1"/>
              </a:solidFill>
              <a:ea typeface="Yu Gothic UI" panose="020B0500000000000000" pitchFamily="34" charset="-128"/>
              <a:sym typeface="Helvetica"/>
            </a:endParaRPr>
          </a:p>
          <a:p>
            <a:pPr>
              <a:defRPr/>
            </a:pPr>
            <a:r>
              <a:rPr lang="ru-RU" b="1" kern="0" dirty="0">
                <a:solidFill>
                  <a:schemeClr val="bg1"/>
                </a:solidFill>
                <a:ea typeface="Yu Gothic UI" panose="020B0500000000000000" pitchFamily="34" charset="-128"/>
                <a:sym typeface="Helvetica"/>
              </a:rPr>
              <a:t>Информационные системы, в том числе НСК</a:t>
            </a:r>
          </a:p>
          <a:p>
            <a:pPr>
              <a:defRPr/>
            </a:pPr>
            <a:endParaRPr lang="ru-RU" b="1" kern="0" dirty="0">
              <a:solidFill>
                <a:schemeClr val="bg1"/>
              </a:solidFill>
              <a:ea typeface="Yu Gothic UI" panose="020B0500000000000000" pitchFamily="34" charset="-128"/>
              <a:sym typeface="Helvetic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1" kern="0" dirty="0">
                <a:solidFill>
                  <a:schemeClr val="bg1"/>
                </a:solidFill>
                <a:ea typeface="Yu Gothic UI" panose="020B0500000000000000" pitchFamily="34" charset="-128"/>
                <a:cs typeface="Gotham Pro" panose="02000503040000020004" pitchFamily="50" charset="0"/>
                <a:sym typeface="Helvetica"/>
              </a:rPr>
              <a:t>УСЛОВИЯ ТИРАЖИРОВАНИЯ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2000" b="1" kern="0" dirty="0">
              <a:solidFill>
                <a:schemeClr val="bg1"/>
              </a:solidFill>
              <a:ea typeface="Yu Gothic UI" panose="020B0500000000000000" pitchFamily="34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1" kern="0" dirty="0">
                <a:solidFill>
                  <a:schemeClr val="bg1"/>
                </a:solidFill>
                <a:ea typeface="Yu Gothic UI" panose="020B0500000000000000" pitchFamily="34" charset="-128"/>
              </a:rPr>
              <a:t>Проектный формат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b="1" kern="0" dirty="0">
              <a:solidFill>
                <a:schemeClr val="bg1"/>
              </a:solidFill>
              <a:ea typeface="Yu Gothic UI" panose="020B0500000000000000" pitchFamily="34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1" kern="0" dirty="0">
                <a:solidFill>
                  <a:schemeClr val="bg1"/>
                </a:solidFill>
                <a:ea typeface="Yu Gothic UI" panose="020B0500000000000000" pitchFamily="34" charset="-128"/>
              </a:rPr>
              <a:t>Прикладное применение  методического и цифрового инструментария</a:t>
            </a:r>
          </a:p>
          <a:p>
            <a:pPr>
              <a:defRPr/>
            </a:pPr>
            <a:endParaRPr lang="ru-RU" b="1" kern="0" dirty="0">
              <a:solidFill>
                <a:schemeClr val="bg1"/>
              </a:solidFill>
              <a:ea typeface="Yu Gothic UI" panose="020B0500000000000000" pitchFamily="34" charset="-128"/>
            </a:endParaRPr>
          </a:p>
          <a:p>
            <a:pPr>
              <a:defRPr/>
            </a:pPr>
            <a:r>
              <a:rPr lang="ru-RU" b="1" kern="0" dirty="0">
                <a:solidFill>
                  <a:schemeClr val="bg1"/>
                </a:solidFill>
                <a:ea typeface="Yu Gothic UI" panose="020B0500000000000000" pitchFamily="34" charset="-128"/>
              </a:rPr>
              <a:t>Динамичность механизма</a:t>
            </a:r>
          </a:p>
          <a:p>
            <a:pPr>
              <a:defRPr/>
            </a:pPr>
            <a:endParaRPr lang="ru-RU" b="1" kern="0" dirty="0">
              <a:solidFill>
                <a:schemeClr val="bg1"/>
              </a:solidFill>
              <a:ea typeface="Yu Gothic UI" panose="020B0500000000000000" pitchFamily="34" charset="-128"/>
            </a:endParaRPr>
          </a:p>
          <a:p>
            <a:r>
              <a:rPr lang="ru-RU" b="1" kern="0" dirty="0">
                <a:solidFill>
                  <a:schemeClr val="bg1"/>
                </a:solidFill>
                <a:ea typeface="Yu Gothic UI" panose="020B0500000000000000" pitchFamily="34" charset="-128"/>
                <a:sym typeface="Helvetica"/>
              </a:rPr>
              <a:t>Подготовка специалистов по кадровому проектированию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9B634BC3-66CD-4B9D-BD2E-E7999B2C57D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374" y="820482"/>
            <a:ext cx="8594725" cy="4839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294075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2882900" y="679450"/>
            <a:ext cx="8839200" cy="4495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796" b="1" dirty="0">
                <a:solidFill>
                  <a:srgbClr val="6600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АКТЫ: </a:t>
            </a:r>
            <a:r>
              <a:rPr lang="ru-RU" altLang="ru-RU" sz="1796" b="1" dirty="0">
                <a:solidFill>
                  <a:srgbClr val="6600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ЛКОВА АНГЕЛИНА ВЛАДИМИРОВНА </a:t>
            </a:r>
          </a:p>
          <a:p>
            <a:r>
              <a:rPr lang="ru-RU" altLang="ru-RU" sz="1796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уководитель направления по развитию профессиональных квалификаций Фонда инфраструктурных и образовательных программ (группа РОСНАНО)</a:t>
            </a:r>
          </a:p>
          <a:p>
            <a:endParaRPr lang="ru-RU" altLang="ru-RU" sz="1796" dirty="0">
              <a:solidFill>
                <a:schemeClr val="accent4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altLang="ru-RU" sz="1796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ветственный секретарь Рабочей группы по развитию системы оценки квалификаций Национального совета при Президенте РФ по профессиональным квалификациям </a:t>
            </a:r>
          </a:p>
          <a:p>
            <a:endParaRPr lang="ru-RU" sz="1796" dirty="0">
              <a:solidFill>
                <a:schemeClr val="accent4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796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7036, Москва, пр-т 60-летия Октября, д.10А</a:t>
            </a:r>
          </a:p>
          <a:p>
            <a:r>
              <a:rPr lang="ru-RU" sz="1796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.: +7 495 988-53-88 (доб.1311)</a:t>
            </a:r>
          </a:p>
          <a:p>
            <a:r>
              <a:rPr lang="ru-RU" sz="1796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б. +7 916 972 62 60</a:t>
            </a:r>
          </a:p>
          <a:p>
            <a:r>
              <a:rPr lang="en-US" sz="1796" u="sng" dirty="0"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Angelina</a:t>
            </a:r>
            <a:r>
              <a:rPr lang="ru-RU" sz="1796" u="sng" dirty="0"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.</a:t>
            </a:r>
            <a:r>
              <a:rPr lang="en-US" sz="1796" u="sng" dirty="0"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Volkova</a:t>
            </a:r>
            <a:r>
              <a:rPr lang="ru-RU" sz="1796" u="sng" dirty="0"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@</a:t>
            </a:r>
            <a:r>
              <a:rPr lang="en-US" sz="1796" u="sng" dirty="0"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rusnano</a:t>
            </a:r>
            <a:r>
              <a:rPr lang="ru-RU" sz="1796" u="sng" dirty="0"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.</a:t>
            </a:r>
            <a:r>
              <a:rPr lang="en-US" sz="1796" u="sng" dirty="0"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com</a:t>
            </a:r>
            <a:endParaRPr lang="ru-RU" sz="1796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796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en-US" sz="1600" dirty="0">
                <a:hlinkClick r:id="rId3"/>
              </a:rPr>
              <a:t> https://fiop.site/litsa-nanoindustrii/volkova-av/</a:t>
            </a:r>
            <a:endParaRPr lang="ru-RU" sz="1796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700" y="231716"/>
            <a:ext cx="2098683" cy="3190934"/>
          </a:xfrm>
          <a:prstGeom prst="rect">
            <a:avLst/>
          </a:prstGeom>
        </p:spPr>
      </p:pic>
      <p:sp>
        <p:nvSpPr>
          <p:cNvPr id="7" name="Номер слайда 6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472702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Box 26"/>
          <p:cNvSpPr txBox="1"/>
          <p:nvPr/>
        </p:nvSpPr>
        <p:spPr>
          <a:xfrm>
            <a:off x="7562062" y="2852488"/>
            <a:ext cx="184346" cy="2995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2457">
              <a:defRPr/>
            </a:pPr>
            <a:endParaRPr lang="ru-RU" sz="1348" dirty="0">
              <a:solidFill>
                <a:prstClr val="black"/>
              </a:solidFill>
              <a:latin typeface="Gilroy" pitchFamily="2" charset="77"/>
            </a:endParaRPr>
          </a:p>
        </p:txBody>
      </p:sp>
      <p:sp>
        <p:nvSpPr>
          <p:cNvPr id="58" name="Прямоугольник 3">
            <a:extLst>
              <a:ext uri="{FF2B5EF4-FFF2-40B4-BE49-F238E27FC236}">
                <a16:creationId xmlns:a16="http://schemas.microsoft.com/office/drawing/2014/main" id="{52BFC6F5-B1E6-7146-81DB-24677CF844C2}"/>
              </a:ext>
            </a:extLst>
          </p:cNvPr>
          <p:cNvSpPr/>
          <p:nvPr/>
        </p:nvSpPr>
        <p:spPr>
          <a:xfrm>
            <a:off x="6903032" y="200501"/>
            <a:ext cx="4710620" cy="276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12457">
              <a:defRPr/>
            </a:pPr>
            <a:r>
              <a:rPr lang="ru-RU" sz="1197" dirty="0">
                <a:solidFill>
                  <a:prstClr val="white">
                    <a:lumMod val="50000"/>
                  </a:prstClr>
                </a:solidFill>
                <a:latin typeface="Gilroy" pitchFamily="2" charset="77"/>
                <a:ea typeface="Calibri" panose="020F0502020204030204" pitchFamily="34" charset="0"/>
                <a:cs typeface="Calibri" panose="020F0502020204030204" pitchFamily="34" charset="0"/>
              </a:rPr>
              <a:t>Достойный эффективный труд и успешное предпринимательство</a:t>
            </a:r>
            <a:endParaRPr lang="en-US" sz="1197" dirty="0">
              <a:solidFill>
                <a:prstClr val="white">
                  <a:lumMod val="50000"/>
                </a:prstClr>
              </a:solidFill>
              <a:latin typeface="Gilroy" pitchFamily="2" charset="77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2" name="Заголовок 1">
            <a:extLst>
              <a:ext uri="{FF2B5EF4-FFF2-40B4-BE49-F238E27FC236}">
                <a16:creationId xmlns:a16="http://schemas.microsoft.com/office/drawing/2014/main" id="{2D13EEA9-1E51-C54A-8022-1DBBA64940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670" y="538490"/>
            <a:ext cx="10935230" cy="562927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b="1" dirty="0">
                <a:latin typeface="+mn-lt"/>
              </a:rPr>
              <a:t>ИНТЕРФЕЙС РАЗВИТИЯ СИСТЕМЫ КВАЛИФИКАЦИЙ В НАНОИНДУСТРИИ</a:t>
            </a:r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37953A49-C549-45CB-B35F-1C06EAAC0027}"/>
              </a:ext>
            </a:extLst>
          </p:cNvPr>
          <p:cNvSpPr/>
          <p:nvPr/>
        </p:nvSpPr>
        <p:spPr>
          <a:xfrm>
            <a:off x="7915323" y="2326386"/>
            <a:ext cx="4155123" cy="4233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912457">
              <a:lnSpc>
                <a:spcPct val="115000"/>
              </a:lnSpc>
              <a:tabLst>
                <a:tab pos="629231" algn="l"/>
                <a:tab pos="1845237" algn="l"/>
              </a:tabLst>
              <a:defRPr/>
            </a:pPr>
            <a:r>
              <a:rPr lang="ru-RU" sz="1996" b="1" dirty="0">
                <a:solidFill>
                  <a:prstClr val="white"/>
                </a:solidFill>
                <a:latin typeface="PT Serif" panose="020A060304050502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ЦЕЛЕВЫЕ ГРУППЫ</a:t>
            </a:r>
          </a:p>
        </p:txBody>
      </p:sp>
      <p:grpSp>
        <p:nvGrpSpPr>
          <p:cNvPr id="40" name="Группа 39">
            <a:extLst>
              <a:ext uri="{FF2B5EF4-FFF2-40B4-BE49-F238E27FC236}">
                <a16:creationId xmlns:a16="http://schemas.microsoft.com/office/drawing/2014/main" id="{63F76D96-A42F-40F8-9208-DC61DD0ECF63}"/>
              </a:ext>
            </a:extLst>
          </p:cNvPr>
          <p:cNvGrpSpPr/>
          <p:nvPr/>
        </p:nvGrpSpPr>
        <p:grpSpPr>
          <a:xfrm>
            <a:off x="168620" y="1302120"/>
            <a:ext cx="5162572" cy="2331569"/>
            <a:chOff x="2736925" y="3308129"/>
            <a:chExt cx="2911448" cy="1426231"/>
          </a:xfrm>
          <a:solidFill>
            <a:srgbClr val="00B0F0"/>
          </a:solidFill>
        </p:grpSpPr>
        <p:sp>
          <p:nvSpPr>
            <p:cNvPr id="73" name="Прямоугольник: скругленные углы 72">
              <a:extLst>
                <a:ext uri="{FF2B5EF4-FFF2-40B4-BE49-F238E27FC236}">
                  <a16:creationId xmlns:a16="http://schemas.microsoft.com/office/drawing/2014/main" id="{A8B24CBF-3CBA-40F7-A23D-7597978BB81F}"/>
                </a:ext>
              </a:extLst>
            </p:cNvPr>
            <p:cNvSpPr/>
            <p:nvPr/>
          </p:nvSpPr>
          <p:spPr>
            <a:xfrm>
              <a:off x="2736925" y="3308129"/>
              <a:ext cx="2911448" cy="1426231"/>
            </a:xfrm>
            <a:prstGeom prst="roundRect">
              <a:avLst>
                <a:gd name="adj" fmla="val 9743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2457">
                <a:defRPr/>
              </a:pPr>
              <a:endParaRPr lang="ru-RU" sz="1796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7" name="Прямоугольник 76">
              <a:extLst>
                <a:ext uri="{FF2B5EF4-FFF2-40B4-BE49-F238E27FC236}">
                  <a16:creationId xmlns:a16="http://schemas.microsoft.com/office/drawing/2014/main" id="{DE72EBAA-5536-4B1F-9C59-D48AF6354B2E}"/>
                </a:ext>
              </a:extLst>
            </p:cNvPr>
            <p:cNvSpPr/>
            <p:nvPr/>
          </p:nvSpPr>
          <p:spPr>
            <a:xfrm>
              <a:off x="4655497" y="3332677"/>
              <a:ext cx="959348" cy="24226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2457">
                <a:defRPr/>
              </a:pPr>
              <a:r>
                <a:rPr lang="ru-RU" sz="1796" dirty="0">
                  <a:solidFill>
                    <a:schemeClr val="tx1"/>
                  </a:solidFill>
                  <a:latin typeface="Calibri" panose="020F0502020204030204"/>
                </a:rPr>
                <a:t>Провайдер</a:t>
              </a:r>
              <a:r>
                <a:rPr lang="ru-RU" sz="1796" b="1" dirty="0">
                  <a:solidFill>
                    <a:prstClr val="black"/>
                  </a:solidFill>
                  <a:latin typeface="Calibri" panose="020F0502020204030204"/>
                </a:rPr>
                <a:t> </a:t>
              </a:r>
            </a:p>
          </p:txBody>
        </p:sp>
      </p:grpSp>
      <p:sp>
        <p:nvSpPr>
          <p:cNvPr id="47" name="Прямоугольник: скругленные углы 46">
            <a:extLst>
              <a:ext uri="{FF2B5EF4-FFF2-40B4-BE49-F238E27FC236}">
                <a16:creationId xmlns:a16="http://schemas.microsoft.com/office/drawing/2014/main" id="{5F96FB93-BF6A-413D-B2A5-793A10D542EF}"/>
              </a:ext>
            </a:extLst>
          </p:cNvPr>
          <p:cNvSpPr/>
          <p:nvPr/>
        </p:nvSpPr>
        <p:spPr>
          <a:xfrm>
            <a:off x="3273959" y="2134675"/>
            <a:ext cx="1877383" cy="703306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457">
              <a:defRPr/>
            </a:pPr>
            <a:endParaRPr lang="ru-RU" sz="1796" dirty="0">
              <a:solidFill>
                <a:prstClr val="white"/>
              </a:solidFill>
              <a:latin typeface="Calibri" panose="020F0502020204030204"/>
            </a:endParaRPr>
          </a:p>
        </p:txBody>
      </p:sp>
      <p:grpSp>
        <p:nvGrpSpPr>
          <p:cNvPr id="48" name="Группа 47">
            <a:extLst>
              <a:ext uri="{FF2B5EF4-FFF2-40B4-BE49-F238E27FC236}">
                <a16:creationId xmlns:a16="http://schemas.microsoft.com/office/drawing/2014/main" id="{27C53DCB-CD05-489C-AB3F-D96A88E54AE9}"/>
              </a:ext>
            </a:extLst>
          </p:cNvPr>
          <p:cNvGrpSpPr/>
          <p:nvPr/>
        </p:nvGrpSpPr>
        <p:grpSpPr>
          <a:xfrm>
            <a:off x="6966785" y="1302260"/>
            <a:ext cx="5087497" cy="2433874"/>
            <a:chOff x="6535853" y="3248152"/>
            <a:chExt cx="2968831" cy="1472564"/>
          </a:xfrm>
          <a:solidFill>
            <a:srgbClr val="CC3399"/>
          </a:solidFill>
        </p:grpSpPr>
        <p:sp>
          <p:nvSpPr>
            <p:cNvPr id="71" name="Прямоугольник: скругленные углы 70">
              <a:extLst>
                <a:ext uri="{FF2B5EF4-FFF2-40B4-BE49-F238E27FC236}">
                  <a16:creationId xmlns:a16="http://schemas.microsoft.com/office/drawing/2014/main" id="{035CBF2F-D0C7-4AE3-A986-36373B6B197D}"/>
                </a:ext>
              </a:extLst>
            </p:cNvPr>
            <p:cNvSpPr/>
            <p:nvPr/>
          </p:nvSpPr>
          <p:spPr>
            <a:xfrm>
              <a:off x="6535853" y="3248152"/>
              <a:ext cx="2968831" cy="1472564"/>
            </a:xfrm>
            <a:prstGeom prst="roundRect">
              <a:avLst>
                <a:gd name="adj" fmla="val 109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2457">
                <a:defRPr/>
              </a:pPr>
              <a:endParaRPr lang="ru-RU" sz="1796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" name="Прямоугольник 71">
              <a:extLst>
                <a:ext uri="{FF2B5EF4-FFF2-40B4-BE49-F238E27FC236}">
                  <a16:creationId xmlns:a16="http://schemas.microsoft.com/office/drawing/2014/main" id="{B9570025-19AE-469B-B43A-013C2FCF49BD}"/>
                </a:ext>
              </a:extLst>
            </p:cNvPr>
            <p:cNvSpPr/>
            <p:nvPr/>
          </p:nvSpPr>
          <p:spPr>
            <a:xfrm>
              <a:off x="7114292" y="3252829"/>
              <a:ext cx="2175053" cy="42271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2457">
                <a:defRPr/>
              </a:pPr>
              <a:endParaRPr lang="ru-RU" sz="1397" b="1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49" name="Прямоугольник: скругленные углы 48">
            <a:extLst>
              <a:ext uri="{FF2B5EF4-FFF2-40B4-BE49-F238E27FC236}">
                <a16:creationId xmlns:a16="http://schemas.microsoft.com/office/drawing/2014/main" id="{2324B30E-2A9A-4016-9458-9B119A6F29E1}"/>
              </a:ext>
            </a:extLst>
          </p:cNvPr>
          <p:cNvSpPr/>
          <p:nvPr/>
        </p:nvSpPr>
        <p:spPr>
          <a:xfrm>
            <a:off x="9415819" y="1404567"/>
            <a:ext cx="2515745" cy="671246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457">
              <a:defRPr/>
            </a:pPr>
            <a:r>
              <a:rPr lang="ru-RU" sz="1597" dirty="0">
                <a:solidFill>
                  <a:schemeClr val="tx1"/>
                </a:solidFill>
                <a:latin typeface="Calibri" panose="020F0502020204030204"/>
              </a:rPr>
              <a:t>Кадровое обеспечение инновационных проектов</a:t>
            </a:r>
          </a:p>
        </p:txBody>
      </p:sp>
      <p:sp>
        <p:nvSpPr>
          <p:cNvPr id="52" name="Стрелка: вправо 51">
            <a:extLst>
              <a:ext uri="{FF2B5EF4-FFF2-40B4-BE49-F238E27FC236}">
                <a16:creationId xmlns:a16="http://schemas.microsoft.com/office/drawing/2014/main" id="{2F193F09-E08A-4C56-A1FA-075CA5A34756}"/>
              </a:ext>
            </a:extLst>
          </p:cNvPr>
          <p:cNvSpPr/>
          <p:nvPr/>
        </p:nvSpPr>
        <p:spPr>
          <a:xfrm rot="10800000">
            <a:off x="5315699" y="1632262"/>
            <a:ext cx="1526094" cy="977670"/>
          </a:xfrm>
          <a:prstGeom prst="rightArrow">
            <a:avLst>
              <a:gd name="adj1" fmla="val 76287"/>
              <a:gd name="adj2" fmla="val 40514"/>
            </a:avLst>
          </a:prstGeom>
          <a:solidFill>
            <a:schemeClr val="bg1"/>
          </a:solidFill>
          <a:ln w="28575">
            <a:solidFill>
              <a:srgbClr val="FF33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457">
              <a:defRPr/>
            </a:pPr>
            <a:endParaRPr lang="ru-RU" sz="1796" dirty="0">
              <a:solidFill>
                <a:srgbClr val="5B9BD5">
                  <a:lumMod val="75000"/>
                </a:srgbClr>
              </a:solidFill>
              <a:latin typeface="Calibri" panose="020F0502020204030204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08888DF2-313F-4B29-B9C0-B9C1BA3AF5B7}"/>
              </a:ext>
            </a:extLst>
          </p:cNvPr>
          <p:cNvSpPr txBox="1"/>
          <p:nvPr/>
        </p:nvSpPr>
        <p:spPr>
          <a:xfrm>
            <a:off x="5406738" y="1758779"/>
            <a:ext cx="1585193" cy="7678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2457">
              <a:defRPr/>
            </a:pPr>
            <a:r>
              <a:rPr lang="ru-RU" sz="1098" dirty="0">
                <a:latin typeface="Calibri" panose="020F0502020204030204"/>
              </a:rPr>
              <a:t>Инфраструктурная, методическая поддержка экосистемы </a:t>
            </a:r>
          </a:p>
        </p:txBody>
      </p:sp>
      <p:sp>
        <p:nvSpPr>
          <p:cNvPr id="54" name="Стрелка: вправо 53">
            <a:extLst>
              <a:ext uri="{FF2B5EF4-FFF2-40B4-BE49-F238E27FC236}">
                <a16:creationId xmlns:a16="http://schemas.microsoft.com/office/drawing/2014/main" id="{F69EA682-684A-4A13-BC62-21B47C86DADA}"/>
              </a:ext>
            </a:extLst>
          </p:cNvPr>
          <p:cNvSpPr/>
          <p:nvPr/>
        </p:nvSpPr>
        <p:spPr>
          <a:xfrm>
            <a:off x="5388638" y="2613551"/>
            <a:ext cx="1541100" cy="977670"/>
          </a:xfrm>
          <a:prstGeom prst="rightArrow">
            <a:avLst>
              <a:gd name="adj1" fmla="val 76287"/>
              <a:gd name="adj2" fmla="val 40514"/>
            </a:avLst>
          </a:prstGeom>
          <a:solidFill>
            <a:schemeClr val="bg1"/>
          </a:solidFill>
          <a:ln w="28575">
            <a:solidFill>
              <a:srgbClr val="47A8F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457">
              <a:defRPr/>
            </a:pPr>
            <a:endParaRPr lang="ru-RU" sz="1796" dirty="0">
              <a:solidFill>
                <a:srgbClr val="5B9BD5">
                  <a:lumMod val="75000"/>
                </a:srgbClr>
              </a:solidFill>
              <a:latin typeface="Calibri" panose="020F0502020204030204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BD91DCB7-8063-4414-AA19-1A65D2F6FB30}"/>
              </a:ext>
            </a:extLst>
          </p:cNvPr>
          <p:cNvSpPr txBox="1"/>
          <p:nvPr/>
        </p:nvSpPr>
        <p:spPr>
          <a:xfrm>
            <a:off x="5191386" y="2802097"/>
            <a:ext cx="1676993" cy="5989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2457">
              <a:defRPr/>
            </a:pPr>
            <a:r>
              <a:rPr lang="ru-RU" sz="1098" dirty="0">
                <a:latin typeface="Calibri" panose="020F0502020204030204"/>
              </a:rPr>
              <a:t>Продукты и коммуникационная площадка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498EAFA5-7686-495F-8874-D4B1F6026E7E}"/>
              </a:ext>
            </a:extLst>
          </p:cNvPr>
          <p:cNvSpPr txBox="1"/>
          <p:nvPr/>
        </p:nvSpPr>
        <p:spPr>
          <a:xfrm>
            <a:off x="3155797" y="3152073"/>
            <a:ext cx="2025066" cy="3685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2457">
              <a:defRPr/>
            </a:pPr>
            <a:r>
              <a:rPr lang="ru-RU" sz="1796" dirty="0">
                <a:latin typeface="Calibri" panose="020F0502020204030204"/>
              </a:rPr>
              <a:t>Применение НСК</a:t>
            </a:r>
          </a:p>
        </p:txBody>
      </p:sp>
      <p:pic>
        <p:nvPicPr>
          <p:cNvPr id="64" name="Рисунок 63">
            <a:extLst>
              <a:ext uri="{FF2B5EF4-FFF2-40B4-BE49-F238E27FC236}">
                <a16:creationId xmlns:a16="http://schemas.microsoft.com/office/drawing/2014/main" id="{593B64D1-89DE-429B-A4DF-9F46821D52B7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9357" y="2245221"/>
            <a:ext cx="1371190" cy="487314"/>
          </a:xfrm>
          <a:prstGeom prst="rect">
            <a:avLst/>
          </a:prstGeom>
          <a:noFill/>
        </p:spPr>
      </p:pic>
      <p:sp>
        <p:nvSpPr>
          <p:cNvPr id="65" name="Прямоугольник: скругленные углы 64">
            <a:extLst>
              <a:ext uri="{FF2B5EF4-FFF2-40B4-BE49-F238E27FC236}">
                <a16:creationId xmlns:a16="http://schemas.microsoft.com/office/drawing/2014/main" id="{8D03106D-4278-4252-AB5E-050A3947180D}"/>
              </a:ext>
            </a:extLst>
          </p:cNvPr>
          <p:cNvSpPr/>
          <p:nvPr/>
        </p:nvSpPr>
        <p:spPr>
          <a:xfrm>
            <a:off x="7010744" y="2079729"/>
            <a:ext cx="2253983" cy="711320"/>
          </a:xfrm>
          <a:prstGeom prst="roundRect">
            <a:avLst/>
          </a:prstGeom>
          <a:solidFill>
            <a:schemeClr val="bg1"/>
          </a:solidFill>
          <a:ln>
            <a:solidFill>
              <a:srgbClr val="63C36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457">
              <a:defRPr/>
            </a:pPr>
            <a:endParaRPr lang="ru-RU" sz="1796" dirty="0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66" name="Рисунок 65">
            <a:extLst>
              <a:ext uri="{FF2B5EF4-FFF2-40B4-BE49-F238E27FC236}">
                <a16:creationId xmlns:a16="http://schemas.microsoft.com/office/drawing/2014/main" id="{BE43C6B8-E920-4038-9B5E-B394413890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39216" y="2211330"/>
            <a:ext cx="1995639" cy="473722"/>
          </a:xfrm>
          <a:prstGeom prst="rect">
            <a:avLst/>
          </a:prstGeom>
        </p:spPr>
      </p:pic>
      <p:sp>
        <p:nvSpPr>
          <p:cNvPr id="68" name="TextBox 67">
            <a:extLst>
              <a:ext uri="{FF2B5EF4-FFF2-40B4-BE49-F238E27FC236}">
                <a16:creationId xmlns:a16="http://schemas.microsoft.com/office/drawing/2014/main" id="{233C44FF-F7BB-4926-ADDA-84D442831E8F}"/>
              </a:ext>
            </a:extLst>
          </p:cNvPr>
          <p:cNvSpPr txBox="1"/>
          <p:nvPr/>
        </p:nvSpPr>
        <p:spPr>
          <a:xfrm>
            <a:off x="7282688" y="1404567"/>
            <a:ext cx="1183163" cy="3686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2457">
              <a:defRPr/>
            </a:pPr>
            <a:r>
              <a:rPr lang="ru-RU" sz="1796" dirty="0">
                <a:solidFill>
                  <a:schemeClr val="bg1"/>
                </a:solidFill>
                <a:latin typeface="Calibri" panose="020F0502020204030204"/>
              </a:rPr>
              <a:t>Идеолог</a:t>
            </a:r>
            <a:r>
              <a:rPr lang="ru-RU" sz="1796" b="1" dirty="0">
                <a:solidFill>
                  <a:schemeClr val="bg1"/>
                </a:solidFill>
                <a:latin typeface="Calibri" panose="020F0502020204030204"/>
              </a:rPr>
              <a:t> </a:t>
            </a: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9A7E6363-364B-4440-8D39-ECBA5E35BEFB}"/>
              </a:ext>
            </a:extLst>
          </p:cNvPr>
          <p:cNvGrpSpPr/>
          <p:nvPr/>
        </p:nvGrpSpPr>
        <p:grpSpPr>
          <a:xfrm>
            <a:off x="332118" y="1344760"/>
            <a:ext cx="2499725" cy="2233805"/>
            <a:chOff x="332811" y="1346772"/>
            <a:chExt cx="2504944" cy="2238469"/>
          </a:xfrm>
        </p:grpSpPr>
        <p:sp>
          <p:nvSpPr>
            <p:cNvPr id="41" name="Прямоугольник: скругленные углы 40">
              <a:extLst>
                <a:ext uri="{FF2B5EF4-FFF2-40B4-BE49-F238E27FC236}">
                  <a16:creationId xmlns:a16="http://schemas.microsoft.com/office/drawing/2014/main" id="{1A30AE88-C71B-4CD6-9A27-A76393C622D8}"/>
                </a:ext>
              </a:extLst>
            </p:cNvPr>
            <p:cNvSpPr/>
            <p:nvPr/>
          </p:nvSpPr>
          <p:spPr>
            <a:xfrm>
              <a:off x="332811" y="2058795"/>
              <a:ext cx="2495788" cy="476257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defTabSz="912457">
                <a:defRPr/>
              </a:pPr>
              <a:r>
                <a:rPr lang="ru-RU" sz="1197" b="1" dirty="0">
                  <a:solidFill>
                    <a:schemeClr val="tx1"/>
                  </a:solidFill>
                  <a:latin typeface="Calibri" panose="020F0502020204030204"/>
                </a:rPr>
                <a:t>Малый/средний бизнес</a:t>
              </a:r>
            </a:p>
            <a:p>
              <a:r>
                <a:rPr lang="ru-RU" sz="1397" b="1" dirty="0">
                  <a:solidFill>
                    <a:srgbClr val="4472C4">
                      <a:lumMod val="50000"/>
                    </a:srgbClr>
                  </a:solidFill>
                  <a:latin typeface="Calibri" panose="020F0502020204030204"/>
                </a:rPr>
                <a:t>&gt; 290 </a:t>
              </a:r>
              <a:r>
                <a:rPr lang="ru-RU" sz="1197" dirty="0">
                  <a:solidFill>
                    <a:srgbClr val="4472C4">
                      <a:lumMod val="50000"/>
                    </a:srgbClr>
                  </a:solidFill>
                  <a:latin typeface="Calibri" panose="020F0502020204030204"/>
                </a:rPr>
                <a:t>вовлечено в НСК</a:t>
              </a:r>
            </a:p>
            <a:p>
              <a:pPr defTabSz="912457">
                <a:defRPr/>
              </a:pPr>
              <a:endParaRPr lang="ru-RU" sz="1197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42" name="Прямоугольник: скругленные углы 41">
              <a:extLst>
                <a:ext uri="{FF2B5EF4-FFF2-40B4-BE49-F238E27FC236}">
                  <a16:creationId xmlns:a16="http://schemas.microsoft.com/office/drawing/2014/main" id="{19285385-DD88-4D7F-BB93-A46E78EAD6EC}"/>
                </a:ext>
              </a:extLst>
            </p:cNvPr>
            <p:cNvSpPr/>
            <p:nvPr/>
          </p:nvSpPr>
          <p:spPr>
            <a:xfrm>
              <a:off x="341967" y="2585126"/>
              <a:ext cx="2495788" cy="476257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defTabSz="912457">
                <a:defRPr/>
              </a:pPr>
              <a:r>
                <a:rPr lang="ru-RU" sz="1197" b="1" dirty="0">
                  <a:solidFill>
                    <a:schemeClr val="tx1"/>
                  </a:solidFill>
                  <a:latin typeface="Calibri" panose="020F0502020204030204"/>
                </a:rPr>
                <a:t>Вузы/колледжи</a:t>
              </a:r>
            </a:p>
            <a:p>
              <a:pPr defTabSz="912457">
                <a:defRPr/>
              </a:pPr>
              <a:r>
                <a:rPr lang="ru-RU" sz="1397" b="1" dirty="0">
                  <a:solidFill>
                    <a:srgbClr val="4472C4">
                      <a:lumMod val="50000"/>
                    </a:srgbClr>
                  </a:solidFill>
                  <a:latin typeface="Calibri" panose="020F0502020204030204"/>
                </a:rPr>
                <a:t>&gt; 40 </a:t>
              </a:r>
              <a:r>
                <a:rPr lang="ru-RU" sz="1197" dirty="0">
                  <a:solidFill>
                    <a:srgbClr val="4472C4">
                      <a:lumMod val="50000"/>
                    </a:srgbClr>
                  </a:solidFill>
                  <a:latin typeface="Calibri" panose="020F0502020204030204"/>
                </a:rPr>
                <a:t>вовлечено в НСК</a:t>
              </a:r>
            </a:p>
          </p:txBody>
        </p:sp>
        <p:sp>
          <p:nvSpPr>
            <p:cNvPr id="43" name="Прямоугольник: скругленные углы 42">
              <a:extLst>
                <a:ext uri="{FF2B5EF4-FFF2-40B4-BE49-F238E27FC236}">
                  <a16:creationId xmlns:a16="http://schemas.microsoft.com/office/drawing/2014/main" id="{D7F5D755-F62D-4A0D-952F-F67ED348A953}"/>
                </a:ext>
              </a:extLst>
            </p:cNvPr>
            <p:cNvSpPr/>
            <p:nvPr/>
          </p:nvSpPr>
          <p:spPr>
            <a:xfrm>
              <a:off x="332811" y="1346772"/>
              <a:ext cx="2495788" cy="660296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defTabSz="912457">
                <a:lnSpc>
                  <a:spcPts val="1197"/>
                </a:lnSpc>
                <a:defRPr/>
              </a:pPr>
              <a:r>
                <a:rPr lang="ru-RU" sz="1197" b="1" dirty="0">
                  <a:solidFill>
                    <a:schemeClr val="tx1"/>
                  </a:solidFill>
                  <a:latin typeface="Calibri" panose="020F0502020204030204"/>
                </a:rPr>
                <a:t>Межотраслевое (Ворлдскиллс) и региональное взаимодействие</a:t>
              </a:r>
            </a:p>
            <a:p>
              <a:pPr defTabSz="912457">
                <a:lnSpc>
                  <a:spcPts val="1197"/>
                </a:lnSpc>
                <a:defRPr/>
              </a:pPr>
              <a:r>
                <a:rPr lang="ru-RU" sz="1197" b="1" dirty="0">
                  <a:solidFill>
                    <a:prstClr val="white"/>
                  </a:solidFill>
                  <a:latin typeface="Calibri" panose="020F0502020204030204"/>
                </a:rPr>
                <a:t> </a:t>
              </a:r>
              <a:r>
                <a:rPr lang="ru-RU" sz="1397" b="1" dirty="0">
                  <a:solidFill>
                    <a:srgbClr val="4472C4">
                      <a:lumMod val="50000"/>
                    </a:srgbClr>
                  </a:solidFill>
                  <a:latin typeface="Calibri" panose="020F0502020204030204"/>
                </a:rPr>
                <a:t>20</a:t>
              </a:r>
              <a:r>
                <a:rPr lang="ru-RU" sz="1197" dirty="0">
                  <a:solidFill>
                    <a:srgbClr val="4472C4">
                      <a:lumMod val="50000"/>
                    </a:srgbClr>
                  </a:solidFill>
                  <a:latin typeface="Calibri" panose="020F0502020204030204"/>
                </a:rPr>
                <a:t> соглашений о сотрудничестве </a:t>
              </a:r>
            </a:p>
          </p:txBody>
        </p:sp>
        <p:sp>
          <p:nvSpPr>
            <p:cNvPr id="69" name="Прямоугольник: скругленные углы 68">
              <a:extLst>
                <a:ext uri="{FF2B5EF4-FFF2-40B4-BE49-F238E27FC236}">
                  <a16:creationId xmlns:a16="http://schemas.microsoft.com/office/drawing/2014/main" id="{7A0E395F-058C-4E1D-92A9-B57FCD326892}"/>
                </a:ext>
              </a:extLst>
            </p:cNvPr>
            <p:cNvSpPr/>
            <p:nvPr/>
          </p:nvSpPr>
          <p:spPr>
            <a:xfrm>
              <a:off x="332811" y="3108984"/>
              <a:ext cx="2495788" cy="476257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defTabSz="912457">
                <a:defRPr/>
              </a:pPr>
              <a:r>
                <a:rPr lang="ru-RU" sz="1197" b="1" dirty="0">
                  <a:solidFill>
                    <a:schemeClr val="tx1"/>
                  </a:solidFill>
                  <a:latin typeface="Calibri" panose="020F0502020204030204"/>
                </a:rPr>
                <a:t>Соискатели, студенты</a:t>
              </a:r>
            </a:p>
            <a:p>
              <a:pPr defTabSz="912457">
                <a:defRPr/>
              </a:pPr>
              <a:r>
                <a:rPr lang="ru-RU" sz="1397" b="1" dirty="0">
                  <a:solidFill>
                    <a:srgbClr val="4472C4">
                      <a:lumMod val="50000"/>
                    </a:srgbClr>
                  </a:solidFill>
                  <a:latin typeface="Calibri" panose="020F0502020204030204"/>
                </a:rPr>
                <a:t>2296</a:t>
              </a:r>
              <a:r>
                <a:rPr lang="ru-RU" sz="1197" dirty="0">
                  <a:solidFill>
                    <a:srgbClr val="4472C4">
                      <a:lumMod val="50000"/>
                    </a:srgbClr>
                  </a:solidFill>
                  <a:latin typeface="Calibri" panose="020F0502020204030204"/>
                </a:rPr>
                <a:t> прошли НОК</a:t>
              </a:r>
            </a:p>
          </p:txBody>
        </p:sp>
      </p:grp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723319E1-61EA-4792-8CAD-C451E8984B0E}"/>
              </a:ext>
            </a:extLst>
          </p:cNvPr>
          <p:cNvCxnSpPr/>
          <p:nvPr/>
        </p:nvCxnSpPr>
        <p:spPr>
          <a:xfrm>
            <a:off x="2972521" y="1701734"/>
            <a:ext cx="166089" cy="23963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0DE8AE1C-D98B-4B18-A5A2-E9C414C4E62C}"/>
              </a:ext>
            </a:extLst>
          </p:cNvPr>
          <p:cNvCxnSpPr>
            <a:cxnSpLocks/>
          </p:cNvCxnSpPr>
          <p:nvPr/>
        </p:nvCxnSpPr>
        <p:spPr>
          <a:xfrm flipV="1">
            <a:off x="2972522" y="3208235"/>
            <a:ext cx="147142" cy="20158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id="{C00521E2-EC11-472D-85D8-AFA30829F4FD}"/>
              </a:ext>
            </a:extLst>
          </p:cNvPr>
          <p:cNvCxnSpPr>
            <a:cxnSpLocks/>
          </p:cNvCxnSpPr>
          <p:nvPr/>
        </p:nvCxnSpPr>
        <p:spPr>
          <a:xfrm>
            <a:off x="2871059" y="2245221"/>
            <a:ext cx="262520" cy="9182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Прямая соединительная линия 87">
            <a:extLst>
              <a:ext uri="{FF2B5EF4-FFF2-40B4-BE49-F238E27FC236}">
                <a16:creationId xmlns:a16="http://schemas.microsoft.com/office/drawing/2014/main" id="{25FD5B65-8C59-4502-B6DE-C18D0D4C062B}"/>
              </a:ext>
            </a:extLst>
          </p:cNvPr>
          <p:cNvCxnSpPr>
            <a:cxnSpLocks/>
          </p:cNvCxnSpPr>
          <p:nvPr/>
        </p:nvCxnSpPr>
        <p:spPr>
          <a:xfrm flipV="1">
            <a:off x="2866667" y="2746555"/>
            <a:ext cx="252997" cy="1059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extBox 89">
            <a:extLst>
              <a:ext uri="{FF2B5EF4-FFF2-40B4-BE49-F238E27FC236}">
                <a16:creationId xmlns:a16="http://schemas.microsoft.com/office/drawing/2014/main" id="{8D9BBF5B-683D-44EC-A35C-E5027F8DE8F3}"/>
              </a:ext>
            </a:extLst>
          </p:cNvPr>
          <p:cNvSpPr txBox="1"/>
          <p:nvPr/>
        </p:nvSpPr>
        <p:spPr>
          <a:xfrm>
            <a:off x="7035742" y="3253930"/>
            <a:ext cx="2025066" cy="3685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2457">
              <a:defRPr/>
            </a:pPr>
            <a:r>
              <a:rPr lang="ru-RU" sz="1796" dirty="0">
                <a:solidFill>
                  <a:schemeClr val="bg1"/>
                </a:solidFill>
                <a:latin typeface="Calibri" panose="020F0502020204030204"/>
              </a:rPr>
              <a:t>Внедрение НСК</a:t>
            </a:r>
          </a:p>
        </p:txBody>
      </p:sp>
      <p:sp>
        <p:nvSpPr>
          <p:cNvPr id="105" name="Прямоугольник 104">
            <a:extLst>
              <a:ext uri="{FF2B5EF4-FFF2-40B4-BE49-F238E27FC236}">
                <a16:creationId xmlns:a16="http://schemas.microsoft.com/office/drawing/2014/main" id="{0904C9D5-AE5C-497F-990D-16F61B1869A3}"/>
              </a:ext>
            </a:extLst>
          </p:cNvPr>
          <p:cNvSpPr/>
          <p:nvPr/>
        </p:nvSpPr>
        <p:spPr>
          <a:xfrm>
            <a:off x="3064780" y="4221166"/>
            <a:ext cx="2766734" cy="2617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indent="-171090" defTabSz="912457" fontAlgn="ctr">
              <a:spcAft>
                <a:spcPts val="399"/>
              </a:spcAft>
              <a:buFont typeface="Arial" panose="020B0604020202020204" pitchFamily="34" charset="0"/>
              <a:buChar char="•"/>
              <a:defRPr/>
            </a:pPr>
            <a:r>
              <a:rPr lang="ru-RU" sz="1197" dirty="0">
                <a:solidFill>
                  <a:srgbClr val="000000"/>
                </a:solidFill>
                <a:latin typeface="Calibri" panose="020F0502020204030204"/>
              </a:rPr>
              <a:t>Профстандарты – </a:t>
            </a:r>
            <a:r>
              <a:rPr lang="ru-RU" sz="1397" b="1" dirty="0">
                <a:solidFill>
                  <a:srgbClr val="000000"/>
                </a:solidFill>
                <a:latin typeface="Calibri" panose="020F0502020204030204"/>
              </a:rPr>
              <a:t>75</a:t>
            </a:r>
          </a:p>
          <a:p>
            <a:pPr indent="-171090" defTabSz="912457" fontAlgn="ctr">
              <a:spcAft>
                <a:spcPts val="399"/>
              </a:spcAft>
              <a:buFont typeface="Arial" panose="020B0604020202020204" pitchFamily="34" charset="0"/>
              <a:buChar char="•"/>
              <a:defRPr/>
            </a:pPr>
            <a:r>
              <a:rPr lang="ru-RU" sz="1197" dirty="0">
                <a:solidFill>
                  <a:srgbClr val="000000"/>
                </a:solidFill>
                <a:latin typeface="Calibri" panose="020F0502020204030204"/>
              </a:rPr>
              <a:t>Квалификации – </a:t>
            </a:r>
            <a:r>
              <a:rPr lang="ru-RU" sz="1397" b="1" dirty="0">
                <a:solidFill>
                  <a:srgbClr val="000000"/>
                </a:solidFill>
                <a:latin typeface="Calibri" panose="020F0502020204030204"/>
              </a:rPr>
              <a:t>219</a:t>
            </a:r>
          </a:p>
          <a:p>
            <a:pPr indent="-171090" defTabSz="912457" fontAlgn="ctr">
              <a:spcAft>
                <a:spcPts val="399"/>
              </a:spcAft>
              <a:buFont typeface="Arial" panose="020B0604020202020204" pitchFamily="34" charset="0"/>
              <a:buChar char="•"/>
              <a:defRPr/>
            </a:pPr>
            <a:r>
              <a:rPr lang="ru-RU" sz="1197" dirty="0">
                <a:solidFill>
                  <a:srgbClr val="000000"/>
                </a:solidFill>
                <a:latin typeface="Calibri" panose="020F0502020204030204"/>
              </a:rPr>
              <a:t>Тестовые задания  – </a:t>
            </a:r>
            <a:r>
              <a:rPr lang="ru-RU" sz="1397" b="1" dirty="0">
                <a:solidFill>
                  <a:srgbClr val="000000"/>
                </a:solidFill>
                <a:latin typeface="Calibri" panose="020F0502020204030204"/>
              </a:rPr>
              <a:t>7000</a:t>
            </a:r>
          </a:p>
          <a:p>
            <a:pPr indent="-171090" defTabSz="912457" fontAlgn="ctr">
              <a:spcAft>
                <a:spcPts val="399"/>
              </a:spcAft>
              <a:buFont typeface="Arial" panose="020B0604020202020204" pitchFamily="34" charset="0"/>
              <a:buChar char="•"/>
              <a:defRPr/>
            </a:pPr>
            <a:r>
              <a:rPr lang="ru-RU" sz="1197" dirty="0">
                <a:solidFill>
                  <a:srgbClr val="000000"/>
                </a:solidFill>
                <a:latin typeface="Calibri" panose="020F0502020204030204"/>
              </a:rPr>
              <a:t>Методики  –  </a:t>
            </a:r>
            <a:r>
              <a:rPr lang="ru-RU" sz="1397" b="1" dirty="0">
                <a:solidFill>
                  <a:srgbClr val="000000"/>
                </a:solidFill>
                <a:latin typeface="Calibri" panose="020F0502020204030204"/>
              </a:rPr>
              <a:t>5</a:t>
            </a:r>
          </a:p>
          <a:p>
            <a:pPr indent="-171090" defTabSz="912457" fontAlgn="ctr">
              <a:spcAft>
                <a:spcPts val="399"/>
              </a:spcAft>
              <a:buFont typeface="Arial" panose="020B0604020202020204" pitchFamily="34" charset="0"/>
              <a:buChar char="•"/>
              <a:defRPr/>
            </a:pPr>
            <a:r>
              <a:rPr lang="ru-RU" sz="1197" dirty="0">
                <a:solidFill>
                  <a:srgbClr val="000000"/>
                </a:solidFill>
                <a:latin typeface="Calibri" panose="020F0502020204030204"/>
              </a:rPr>
              <a:t>Экспертиза качества программ –  </a:t>
            </a:r>
            <a:r>
              <a:rPr lang="ru-RU" sz="1397" b="1" dirty="0">
                <a:solidFill>
                  <a:srgbClr val="000000"/>
                </a:solidFill>
                <a:latin typeface="Calibri" panose="020F0502020204030204"/>
              </a:rPr>
              <a:t>67</a:t>
            </a:r>
          </a:p>
          <a:p>
            <a:pPr marL="171090" indent="-171090" defTabSz="912457" fontAlgn="ctr">
              <a:spcAft>
                <a:spcPts val="399"/>
              </a:spcAft>
              <a:buFont typeface="Arial" panose="020B0604020202020204" pitchFamily="34" charset="0"/>
              <a:buChar char="•"/>
              <a:defRPr/>
            </a:pPr>
            <a:r>
              <a:rPr lang="ru-RU" sz="1197" dirty="0">
                <a:solidFill>
                  <a:srgbClr val="000000"/>
                </a:solidFill>
                <a:latin typeface="Calibri" panose="020F0502020204030204"/>
              </a:rPr>
              <a:t>Профэкзамены в дистанционном формате (</a:t>
            </a:r>
            <a:r>
              <a:rPr lang="ru-RU" sz="1197" b="1" dirty="0">
                <a:solidFill>
                  <a:srgbClr val="000000"/>
                </a:solidFill>
                <a:latin typeface="Calibri" panose="020F0502020204030204"/>
              </a:rPr>
              <a:t>190</a:t>
            </a:r>
            <a:r>
              <a:rPr lang="ru-RU" sz="1197" dirty="0">
                <a:solidFill>
                  <a:srgbClr val="000000"/>
                </a:solidFill>
                <a:latin typeface="Calibri" panose="020F0502020204030204"/>
              </a:rPr>
              <a:t> квалификаций по теории и </a:t>
            </a:r>
            <a:r>
              <a:rPr lang="ru-RU" sz="1197" b="1" dirty="0">
                <a:solidFill>
                  <a:srgbClr val="000000"/>
                </a:solidFill>
                <a:latin typeface="Calibri" panose="020F0502020204030204"/>
              </a:rPr>
              <a:t>64</a:t>
            </a:r>
            <a:r>
              <a:rPr lang="ru-RU" sz="1197" dirty="0">
                <a:solidFill>
                  <a:srgbClr val="000000"/>
                </a:solidFill>
                <a:latin typeface="Calibri" panose="020F0502020204030204"/>
              </a:rPr>
              <a:t> по практике)</a:t>
            </a:r>
          </a:p>
          <a:p>
            <a:pPr marL="171090" indent="-171090" defTabSz="912457" fontAlgn="ctr">
              <a:spcAft>
                <a:spcPts val="399"/>
              </a:spcAft>
              <a:buFont typeface="Arial" panose="020B0604020202020204" pitchFamily="34" charset="0"/>
              <a:buChar char="•"/>
              <a:defRPr/>
            </a:pPr>
            <a:r>
              <a:rPr lang="ru-RU" sz="1197" dirty="0">
                <a:solidFill>
                  <a:srgbClr val="000000"/>
                </a:solidFill>
                <a:latin typeface="Calibri" panose="020F0502020204030204"/>
              </a:rPr>
              <a:t>Подтвержденная квалификация – </a:t>
            </a:r>
            <a:r>
              <a:rPr lang="ru-RU" sz="1197" b="1" dirty="0">
                <a:solidFill>
                  <a:srgbClr val="000000"/>
                </a:solidFill>
                <a:latin typeface="Calibri" panose="020F0502020204030204"/>
              </a:rPr>
              <a:t>1800 </a:t>
            </a:r>
            <a:r>
              <a:rPr lang="ru-RU" sz="1197" dirty="0">
                <a:solidFill>
                  <a:srgbClr val="000000"/>
                </a:solidFill>
                <a:latin typeface="Calibri" panose="020F0502020204030204"/>
              </a:rPr>
              <a:t>(соискателей и студентов)</a:t>
            </a:r>
          </a:p>
          <a:p>
            <a:pPr defTabSz="912457">
              <a:spcAft>
                <a:spcPts val="299"/>
              </a:spcAft>
              <a:defRPr/>
            </a:pPr>
            <a:endParaRPr lang="ru-RU" sz="1197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6" name="Прямоугольник 105">
            <a:extLst>
              <a:ext uri="{FF2B5EF4-FFF2-40B4-BE49-F238E27FC236}">
                <a16:creationId xmlns:a16="http://schemas.microsoft.com/office/drawing/2014/main" id="{C6E3DF98-A800-48A9-A782-3603281F83BD}"/>
              </a:ext>
            </a:extLst>
          </p:cNvPr>
          <p:cNvSpPr/>
          <p:nvPr/>
        </p:nvSpPr>
        <p:spPr>
          <a:xfrm>
            <a:off x="3529356" y="3822723"/>
            <a:ext cx="1541100" cy="3598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2457">
              <a:defRPr/>
            </a:pPr>
            <a:r>
              <a:rPr lang="ru-RU" sz="1397" b="1" dirty="0">
                <a:solidFill>
                  <a:srgbClr val="00A15F"/>
                </a:solidFill>
                <a:latin typeface="Calibri" panose="020F0502020204030204"/>
              </a:rPr>
              <a:t>ПРОДУКТЫ</a:t>
            </a:r>
          </a:p>
        </p:txBody>
      </p:sp>
      <p:grpSp>
        <p:nvGrpSpPr>
          <p:cNvPr id="33" name="Группа 32">
            <a:extLst>
              <a:ext uri="{FF2B5EF4-FFF2-40B4-BE49-F238E27FC236}">
                <a16:creationId xmlns:a16="http://schemas.microsoft.com/office/drawing/2014/main" id="{7979F51C-436B-4EE6-AC7A-2E59AF631799}"/>
              </a:ext>
            </a:extLst>
          </p:cNvPr>
          <p:cNvGrpSpPr/>
          <p:nvPr/>
        </p:nvGrpSpPr>
        <p:grpSpPr>
          <a:xfrm>
            <a:off x="342171" y="3773845"/>
            <a:ext cx="2744671" cy="1319050"/>
            <a:chOff x="342885" y="3780928"/>
            <a:chExt cx="2750401" cy="1321804"/>
          </a:xfrm>
        </p:grpSpPr>
        <p:grpSp>
          <p:nvGrpSpPr>
            <p:cNvPr id="92" name="Группа 91">
              <a:extLst>
                <a:ext uri="{FF2B5EF4-FFF2-40B4-BE49-F238E27FC236}">
                  <a16:creationId xmlns:a16="http://schemas.microsoft.com/office/drawing/2014/main" id="{8F8812CF-E4C7-43EF-8B53-5C905BCAFB8A}"/>
                </a:ext>
              </a:extLst>
            </p:cNvPr>
            <p:cNvGrpSpPr/>
            <p:nvPr/>
          </p:nvGrpSpPr>
          <p:grpSpPr>
            <a:xfrm>
              <a:off x="342885" y="3865340"/>
              <a:ext cx="2750401" cy="1237392"/>
              <a:chOff x="483394" y="3655577"/>
              <a:chExt cx="1962854" cy="1276290"/>
            </a:xfrm>
          </p:grpSpPr>
          <p:sp>
            <p:nvSpPr>
              <p:cNvPr id="109" name="Прямоугольник 108">
                <a:extLst>
                  <a:ext uri="{FF2B5EF4-FFF2-40B4-BE49-F238E27FC236}">
                    <a16:creationId xmlns:a16="http://schemas.microsoft.com/office/drawing/2014/main" id="{1A24B2FB-8774-4850-8E9D-4B812005DD76}"/>
                  </a:ext>
                </a:extLst>
              </p:cNvPr>
              <p:cNvSpPr/>
              <p:nvPr/>
            </p:nvSpPr>
            <p:spPr>
              <a:xfrm>
                <a:off x="602622" y="3655577"/>
                <a:ext cx="1479583" cy="30600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457">
                  <a:defRPr/>
                </a:pPr>
                <a:r>
                  <a:rPr lang="ru-RU" sz="1397" b="1" dirty="0">
                    <a:solidFill>
                      <a:srgbClr val="E3A009"/>
                    </a:solidFill>
                    <a:latin typeface="Calibri" panose="020F0502020204030204"/>
                  </a:rPr>
                  <a:t>ИНФРАСТРУКТУРА</a:t>
                </a:r>
              </a:p>
            </p:txBody>
          </p:sp>
          <p:sp>
            <p:nvSpPr>
              <p:cNvPr id="110" name="Прямоугольник 109">
                <a:extLst>
                  <a:ext uri="{FF2B5EF4-FFF2-40B4-BE49-F238E27FC236}">
                    <a16:creationId xmlns:a16="http://schemas.microsoft.com/office/drawing/2014/main" id="{AA0FA605-7424-479B-9261-8668AB4521BB}"/>
                  </a:ext>
                </a:extLst>
              </p:cNvPr>
              <p:cNvSpPr/>
              <p:nvPr/>
            </p:nvSpPr>
            <p:spPr>
              <a:xfrm>
                <a:off x="483394" y="4021583"/>
                <a:ext cx="1962854" cy="910284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indent="-171090" defTabSz="912457" fontAlgn="ctr">
                  <a:spcAft>
                    <a:spcPts val="299"/>
                  </a:spcAft>
                  <a:buFont typeface="Arial" panose="020B0604020202020204" pitchFamily="34" charset="0"/>
                  <a:buChar char="•"/>
                  <a:defRPr/>
                </a:pPr>
                <a:r>
                  <a:rPr lang="ru-RU" sz="1197" dirty="0">
                    <a:solidFill>
                      <a:srgbClr val="000000"/>
                    </a:solidFill>
                    <a:latin typeface="Calibri" panose="020F0502020204030204"/>
                  </a:rPr>
                  <a:t>Центров оценки квалификации – </a:t>
                </a:r>
                <a:r>
                  <a:rPr lang="ru-RU" sz="1397" b="1" dirty="0">
                    <a:solidFill>
                      <a:srgbClr val="000000"/>
                    </a:solidFill>
                    <a:latin typeface="Calibri" panose="020F0502020204030204"/>
                  </a:rPr>
                  <a:t>6</a:t>
                </a:r>
              </a:p>
              <a:p>
                <a:pPr indent="-171090" defTabSz="912457" fontAlgn="ctr">
                  <a:spcAft>
                    <a:spcPts val="299"/>
                  </a:spcAft>
                  <a:buFont typeface="Arial" panose="020B0604020202020204" pitchFamily="34" charset="0"/>
                  <a:buChar char="•"/>
                  <a:defRPr/>
                </a:pPr>
                <a:r>
                  <a:rPr lang="ru-RU" sz="1197" dirty="0">
                    <a:solidFill>
                      <a:srgbClr val="000000"/>
                    </a:solidFill>
                    <a:latin typeface="Calibri" panose="020F0502020204030204"/>
                  </a:rPr>
                  <a:t>Экзаменационных площадок – </a:t>
                </a:r>
                <a:r>
                  <a:rPr lang="ru-RU" sz="1397" b="1" dirty="0">
                    <a:solidFill>
                      <a:srgbClr val="000000"/>
                    </a:solidFill>
                    <a:latin typeface="Calibri" panose="020F0502020204030204"/>
                  </a:rPr>
                  <a:t>16</a:t>
                </a:r>
              </a:p>
              <a:p>
                <a:pPr indent="-171090" defTabSz="912457" fontAlgn="ctr">
                  <a:spcAft>
                    <a:spcPts val="299"/>
                  </a:spcAft>
                  <a:buFont typeface="Arial" panose="020B0604020202020204" pitchFamily="34" charset="0"/>
                  <a:buChar char="•"/>
                  <a:defRPr/>
                </a:pPr>
                <a:r>
                  <a:rPr lang="ru-RU" sz="1197" dirty="0">
                    <a:solidFill>
                      <a:srgbClr val="000000"/>
                    </a:solidFill>
                    <a:latin typeface="Calibri" panose="020F0502020204030204"/>
                  </a:rPr>
                  <a:t>Охват регионов – </a:t>
                </a:r>
                <a:r>
                  <a:rPr lang="ru-RU" sz="1397" b="1" dirty="0">
                    <a:solidFill>
                      <a:srgbClr val="000000"/>
                    </a:solidFill>
                    <a:latin typeface="Calibri" panose="020F0502020204030204"/>
                  </a:rPr>
                  <a:t>14 </a:t>
                </a:r>
              </a:p>
              <a:p>
                <a:pPr defTabSz="912457">
                  <a:defRPr/>
                </a:pPr>
                <a:endParaRPr lang="ru-RU" sz="1597" dirty="0">
                  <a:solidFill>
                    <a:srgbClr val="002060"/>
                  </a:solidFill>
                  <a:latin typeface="Calibri" panose="020F0502020204030204"/>
                </a:endParaRPr>
              </a:p>
            </p:txBody>
          </p:sp>
        </p:grpSp>
        <p:pic>
          <p:nvPicPr>
            <p:cNvPr id="111" name="Рисунок 110">
              <a:extLst>
                <a:ext uri="{FF2B5EF4-FFF2-40B4-BE49-F238E27FC236}">
                  <a16:creationId xmlns:a16="http://schemas.microsoft.com/office/drawing/2014/main" id="{144F0376-F094-4855-840F-0A04BE126EE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95391" y="3780928"/>
              <a:ext cx="351207" cy="351207"/>
            </a:xfrm>
            <a:prstGeom prst="rect">
              <a:avLst/>
            </a:prstGeom>
            <a:ln>
              <a:solidFill>
                <a:srgbClr val="E3A009"/>
              </a:solidFill>
            </a:ln>
          </p:spPr>
        </p:pic>
      </p:grpSp>
      <p:grpSp>
        <p:nvGrpSpPr>
          <p:cNvPr id="34" name="Группа 33">
            <a:extLst>
              <a:ext uri="{FF2B5EF4-FFF2-40B4-BE49-F238E27FC236}">
                <a16:creationId xmlns:a16="http://schemas.microsoft.com/office/drawing/2014/main" id="{E609047A-CBD5-4690-9337-CFF8BA3BA7C5}"/>
              </a:ext>
            </a:extLst>
          </p:cNvPr>
          <p:cNvGrpSpPr/>
          <p:nvPr/>
        </p:nvGrpSpPr>
        <p:grpSpPr>
          <a:xfrm>
            <a:off x="329669" y="4944314"/>
            <a:ext cx="2642853" cy="1962685"/>
            <a:chOff x="330357" y="4953841"/>
            <a:chExt cx="2648370" cy="1966782"/>
          </a:xfrm>
        </p:grpSpPr>
        <p:sp>
          <p:nvSpPr>
            <p:cNvPr id="107" name="Прямоугольник 106">
              <a:extLst>
                <a:ext uri="{FF2B5EF4-FFF2-40B4-BE49-F238E27FC236}">
                  <a16:creationId xmlns:a16="http://schemas.microsoft.com/office/drawing/2014/main" id="{B559E988-02EF-48BF-B751-3712A36AD6F4}"/>
                </a:ext>
              </a:extLst>
            </p:cNvPr>
            <p:cNvSpPr/>
            <p:nvPr/>
          </p:nvSpPr>
          <p:spPr>
            <a:xfrm>
              <a:off x="800189" y="5026765"/>
              <a:ext cx="2178538" cy="35740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2457">
                <a:defRPr/>
              </a:pPr>
              <a:r>
                <a:rPr lang="ru-RU" sz="1397" b="1" dirty="0">
                  <a:solidFill>
                    <a:srgbClr val="2B2768"/>
                  </a:solidFill>
                  <a:latin typeface="Calibri" panose="020F0502020204030204"/>
                </a:rPr>
                <a:t>ИНСТРУМЕНТЫ</a:t>
              </a:r>
            </a:p>
          </p:txBody>
        </p:sp>
        <p:sp>
          <p:nvSpPr>
            <p:cNvPr id="108" name="Прямоугольник 107">
              <a:extLst>
                <a:ext uri="{FF2B5EF4-FFF2-40B4-BE49-F238E27FC236}">
                  <a16:creationId xmlns:a16="http://schemas.microsoft.com/office/drawing/2014/main" id="{44F48CD6-CC01-449D-812C-3A47DA1AE560}"/>
                </a:ext>
              </a:extLst>
            </p:cNvPr>
            <p:cNvSpPr/>
            <p:nvPr/>
          </p:nvSpPr>
          <p:spPr>
            <a:xfrm>
              <a:off x="330357" y="5298344"/>
              <a:ext cx="2648370" cy="162227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182180" indent="-182180" defTabSz="912457" fontAlgn="ctr">
                <a:spcAft>
                  <a:spcPts val="599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197" dirty="0">
                  <a:solidFill>
                    <a:srgbClr val="000000"/>
                  </a:solidFill>
                  <a:latin typeface="Calibri" panose="020F0502020204030204"/>
                </a:rPr>
                <a:t>Оценка квалификации</a:t>
              </a:r>
            </a:p>
            <a:p>
              <a:pPr marL="182180" indent="-182180" defTabSz="912457" fontAlgn="ctr">
                <a:spcAft>
                  <a:spcPts val="599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197" dirty="0">
                  <a:solidFill>
                    <a:srgbClr val="000000"/>
                  </a:solidFill>
                  <a:latin typeface="Calibri" panose="020F0502020204030204"/>
                </a:rPr>
                <a:t>Профессионально-общественная аккредитация программ</a:t>
              </a:r>
            </a:p>
            <a:p>
              <a:pPr marL="182180" indent="-182180" defTabSz="912457" fontAlgn="ctr">
                <a:spcAft>
                  <a:spcPts val="599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197" dirty="0">
                  <a:solidFill>
                    <a:srgbClr val="000000"/>
                  </a:solidFill>
                  <a:latin typeface="Calibri" panose="020F0502020204030204"/>
                </a:rPr>
                <a:t>Экспертиза ФГОС</a:t>
              </a:r>
            </a:p>
            <a:p>
              <a:pPr marL="182180" indent="-182180" defTabSz="912457" fontAlgn="ctr">
                <a:spcAft>
                  <a:spcPts val="599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197" dirty="0">
                  <a:solidFill>
                    <a:srgbClr val="000000"/>
                  </a:solidFill>
                  <a:latin typeface="Calibri" panose="020F0502020204030204"/>
                </a:rPr>
                <a:t>Мониторинг рынка труда</a:t>
              </a:r>
            </a:p>
            <a:p>
              <a:pPr marL="182180" indent="-182180" defTabSz="912457" fontAlgn="ctr">
                <a:spcAft>
                  <a:spcPts val="599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197" dirty="0">
                  <a:solidFill>
                    <a:srgbClr val="000000"/>
                  </a:solidFill>
                  <a:latin typeface="Calibri" panose="020F0502020204030204"/>
                </a:rPr>
                <a:t>Рамка квалификаций</a:t>
              </a:r>
            </a:p>
            <a:p>
              <a:pPr marL="182180" indent="-91882" defTabSz="912457" fontAlgn="ctr">
                <a:spcAft>
                  <a:spcPts val="599"/>
                </a:spcAft>
                <a:buFont typeface="Arial" panose="020B0604020202020204" pitchFamily="34" charset="0"/>
                <a:buChar char="•"/>
                <a:defRPr/>
              </a:pPr>
              <a:endParaRPr lang="ru-RU" sz="1197" dirty="0">
                <a:solidFill>
                  <a:srgbClr val="000000"/>
                </a:solidFill>
                <a:latin typeface="Calibri" panose="020F0502020204030204"/>
              </a:endParaRPr>
            </a:p>
            <a:p>
              <a:pPr defTabSz="912457">
                <a:defRPr/>
              </a:pPr>
              <a:endParaRPr lang="ru-RU" sz="1597" dirty="0">
                <a:solidFill>
                  <a:srgbClr val="002060"/>
                </a:solidFill>
                <a:latin typeface="Calibri" panose="020F0502020204030204"/>
              </a:endParaRPr>
            </a:p>
          </p:txBody>
        </p:sp>
        <p:pic>
          <p:nvPicPr>
            <p:cNvPr id="32" name="Рисунок 31" descr="Изображение выглядит как канцелярские товары&#10;&#10;Автоматически созданное описание">
              <a:extLst>
                <a:ext uri="{FF2B5EF4-FFF2-40B4-BE49-F238E27FC236}">
                  <a16:creationId xmlns:a16="http://schemas.microsoft.com/office/drawing/2014/main" id="{654BEBB7-5FFF-4688-9588-1570D7FA40C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alphaModFix amt="66000"/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-2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2807" y="4953841"/>
              <a:ext cx="377383" cy="360610"/>
            </a:xfrm>
            <a:prstGeom prst="rect">
              <a:avLst/>
            </a:prstGeom>
          </p:spPr>
        </p:pic>
      </p:grpSp>
      <p:pic>
        <p:nvPicPr>
          <p:cNvPr id="112" name="Рисунок 111">
            <a:extLst>
              <a:ext uri="{FF2B5EF4-FFF2-40B4-BE49-F238E27FC236}">
                <a16:creationId xmlns:a16="http://schemas.microsoft.com/office/drawing/2014/main" id="{ADFFB99A-CFCA-4939-937B-422E16C15F0D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prstClr val="black"/>
              <a:srgbClr val="00A15F">
                <a:tint val="45000"/>
                <a:satMod val="400000"/>
              </a:srgbClr>
            </a:duotone>
          </a:blip>
          <a:stretch>
            <a:fillRect/>
          </a:stretch>
        </p:blipFill>
        <p:spPr>
          <a:xfrm>
            <a:off x="3133579" y="3784119"/>
            <a:ext cx="398444" cy="398444"/>
          </a:xfrm>
          <a:prstGeom prst="rect">
            <a:avLst/>
          </a:prstGeom>
        </p:spPr>
      </p:pic>
      <p:sp>
        <p:nvSpPr>
          <p:cNvPr id="113" name="TextBox 112">
            <a:extLst>
              <a:ext uri="{FF2B5EF4-FFF2-40B4-BE49-F238E27FC236}">
                <a16:creationId xmlns:a16="http://schemas.microsoft.com/office/drawing/2014/main" id="{0C146F1E-5B8F-4BE1-BE58-1AD78248363A}"/>
              </a:ext>
            </a:extLst>
          </p:cNvPr>
          <p:cNvSpPr txBox="1"/>
          <p:nvPr/>
        </p:nvSpPr>
        <p:spPr>
          <a:xfrm>
            <a:off x="5751758" y="4336306"/>
            <a:ext cx="2859101" cy="22006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090" indent="-171090" defTabSz="912480">
              <a:spcAft>
                <a:spcPts val="599"/>
              </a:spcAft>
              <a:buFont typeface="Arial" panose="020B0604020202020204" pitchFamily="34" charset="0"/>
              <a:buChar char="•"/>
              <a:defRPr/>
            </a:pPr>
            <a:r>
              <a:rPr lang="ru-RU" sz="1300" dirty="0">
                <a:solidFill>
                  <a:prstClr val="black"/>
                </a:solidFill>
                <a:latin typeface="Calibri"/>
              </a:rPr>
              <a:t>Модель      многофункционального ЦОК</a:t>
            </a:r>
          </a:p>
          <a:p>
            <a:pPr marL="171090" indent="-171090" defTabSz="912480">
              <a:spcAft>
                <a:spcPts val="599"/>
              </a:spcAft>
              <a:buFont typeface="Arial" panose="020B0604020202020204" pitchFamily="34" charset="0"/>
              <a:buChar char="•"/>
              <a:defRPr/>
            </a:pPr>
            <a:r>
              <a:rPr lang="ru-RU" sz="1300" b="1" dirty="0">
                <a:solidFill>
                  <a:prstClr val="black"/>
                </a:solidFill>
                <a:latin typeface="Calibri"/>
              </a:rPr>
              <a:t>Модель кадрового обеспечения инновационных проектов</a:t>
            </a:r>
          </a:p>
          <a:p>
            <a:pPr marL="171090" indent="-171090" defTabSz="912480">
              <a:spcAft>
                <a:spcPts val="599"/>
              </a:spcAft>
              <a:buFont typeface="Arial" panose="020B0604020202020204" pitchFamily="34" charset="0"/>
              <a:buChar char="•"/>
              <a:defRPr/>
            </a:pPr>
            <a:r>
              <a:rPr lang="ru-RU" sz="1300" dirty="0">
                <a:solidFill>
                  <a:prstClr val="black"/>
                </a:solidFill>
                <a:latin typeface="Calibri"/>
              </a:rPr>
              <a:t>Технология выявления «опережающих квалификаций»</a:t>
            </a:r>
          </a:p>
          <a:p>
            <a:pPr marL="171090" indent="-171090" defTabSz="912480">
              <a:spcAft>
                <a:spcPts val="599"/>
              </a:spcAft>
              <a:buFont typeface="Arial" panose="020B0604020202020204" pitchFamily="34" charset="0"/>
              <a:buChar char="•"/>
              <a:defRPr/>
            </a:pPr>
            <a:r>
              <a:rPr lang="ru-RU" sz="1300" dirty="0">
                <a:solidFill>
                  <a:prstClr val="black"/>
                </a:solidFill>
                <a:latin typeface="Calibri"/>
              </a:rPr>
              <a:t>Методика внедрения НОК на предприятиях</a:t>
            </a:r>
          </a:p>
          <a:p>
            <a:pPr marL="171090" indent="-171090" defTabSz="912480">
              <a:spcAft>
                <a:spcPts val="599"/>
              </a:spcAft>
              <a:buFont typeface="Arial" panose="020B0604020202020204" pitchFamily="34" charset="0"/>
              <a:buChar char="•"/>
              <a:defRPr/>
            </a:pPr>
            <a:r>
              <a:rPr lang="ru-RU" sz="1300" dirty="0">
                <a:solidFill>
                  <a:prstClr val="black"/>
                </a:solidFill>
                <a:latin typeface="Calibri"/>
              </a:rPr>
              <a:t>Методика «Вход в профессию»</a:t>
            </a:r>
          </a:p>
        </p:txBody>
      </p:sp>
      <p:sp>
        <p:nvSpPr>
          <p:cNvPr id="114" name="Прямоугольник 113">
            <a:extLst>
              <a:ext uri="{FF2B5EF4-FFF2-40B4-BE49-F238E27FC236}">
                <a16:creationId xmlns:a16="http://schemas.microsoft.com/office/drawing/2014/main" id="{7E9D9DE6-8181-489A-8D7E-6E32F3C376B3}"/>
              </a:ext>
            </a:extLst>
          </p:cNvPr>
          <p:cNvSpPr/>
          <p:nvPr/>
        </p:nvSpPr>
        <p:spPr>
          <a:xfrm>
            <a:off x="6199335" y="3822723"/>
            <a:ext cx="1865165" cy="3579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457">
              <a:defRPr/>
            </a:pPr>
            <a:r>
              <a:rPr lang="ru-RU" sz="1397" b="1" dirty="0">
                <a:solidFill>
                  <a:srgbClr val="7030A0"/>
                </a:solidFill>
                <a:latin typeface="Calibri" panose="020F0502020204030204"/>
              </a:rPr>
              <a:t>КОМПЛЕКСНЫЕ РЕШЕНИЯ</a:t>
            </a:r>
          </a:p>
        </p:txBody>
      </p:sp>
      <p:pic>
        <p:nvPicPr>
          <p:cNvPr id="115" name="Рисунок 114">
            <a:extLst>
              <a:ext uri="{FF2B5EF4-FFF2-40B4-BE49-F238E27FC236}">
                <a16:creationId xmlns:a16="http://schemas.microsoft.com/office/drawing/2014/main" id="{76589893-6D26-4077-AAD8-3855B5E8D1AA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prstClr val="black"/>
              <a:srgbClr val="7030A0">
                <a:tint val="45000"/>
                <a:satMod val="400000"/>
              </a:srgbClr>
            </a:duotone>
          </a:blip>
          <a:stretch>
            <a:fillRect/>
          </a:stretch>
        </p:blipFill>
        <p:spPr>
          <a:xfrm>
            <a:off x="5893082" y="3722021"/>
            <a:ext cx="511775" cy="511775"/>
          </a:xfrm>
          <a:prstGeom prst="rect">
            <a:avLst/>
          </a:prstGeom>
        </p:spPr>
      </p:pic>
      <p:sp>
        <p:nvSpPr>
          <p:cNvPr id="116" name="Прямоугольник 115">
            <a:extLst>
              <a:ext uri="{FF2B5EF4-FFF2-40B4-BE49-F238E27FC236}">
                <a16:creationId xmlns:a16="http://schemas.microsoft.com/office/drawing/2014/main" id="{DF49114D-5C88-4124-A27A-83D988722739}"/>
              </a:ext>
            </a:extLst>
          </p:cNvPr>
          <p:cNvSpPr/>
          <p:nvPr/>
        </p:nvSpPr>
        <p:spPr>
          <a:xfrm>
            <a:off x="9115059" y="3822723"/>
            <a:ext cx="2639090" cy="3598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2457">
              <a:defRPr/>
            </a:pPr>
            <a:r>
              <a:rPr lang="ru-RU" sz="1397" b="1" dirty="0">
                <a:solidFill>
                  <a:srgbClr val="00A1E0"/>
                </a:solidFill>
                <a:latin typeface="Calibri" panose="020F0502020204030204"/>
              </a:rPr>
              <a:t>ИНФОРМАЦИОННЫЕ РЕСУРСЫ</a:t>
            </a:r>
          </a:p>
        </p:txBody>
      </p:sp>
      <p:pic>
        <p:nvPicPr>
          <p:cNvPr id="117" name="Рисунок 116">
            <a:extLst>
              <a:ext uri="{FF2B5EF4-FFF2-40B4-BE49-F238E27FC236}">
                <a16:creationId xmlns:a16="http://schemas.microsoft.com/office/drawing/2014/main" id="{AF0E06AE-018A-4056-AEB1-F405B19EC79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flipH="1">
            <a:off x="8610859" y="3784120"/>
            <a:ext cx="504200" cy="504200"/>
          </a:xfrm>
          <a:prstGeom prst="rect">
            <a:avLst/>
          </a:prstGeom>
        </p:spPr>
      </p:pic>
      <p:sp>
        <p:nvSpPr>
          <p:cNvPr id="118" name="Прямоугольник 117">
            <a:extLst>
              <a:ext uri="{FF2B5EF4-FFF2-40B4-BE49-F238E27FC236}">
                <a16:creationId xmlns:a16="http://schemas.microsoft.com/office/drawing/2014/main" id="{0400732C-FD77-4A9F-8390-8C471AC67A16}"/>
              </a:ext>
            </a:extLst>
          </p:cNvPr>
          <p:cNvSpPr/>
          <p:nvPr/>
        </p:nvSpPr>
        <p:spPr>
          <a:xfrm>
            <a:off x="8750300" y="4374909"/>
            <a:ext cx="3320146" cy="239946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179011" indent="-179011" defTabSz="912480">
              <a:spcAft>
                <a:spcPts val="599"/>
              </a:spcAft>
              <a:buFont typeface="Arial" panose="020B0604020202020204" pitchFamily="34" charset="0"/>
              <a:buChar char="•"/>
              <a:defRPr/>
            </a:pPr>
            <a:r>
              <a:rPr lang="ru-RU" sz="1200" kern="0" dirty="0">
                <a:solidFill>
                  <a:prstClr val="black"/>
                </a:solidFill>
                <a:latin typeface="Calibri"/>
              </a:rPr>
              <a:t>Реестр сведений о НОК  </a:t>
            </a:r>
            <a:r>
              <a:rPr lang="en-US" sz="1200" kern="0" dirty="0">
                <a:solidFill>
                  <a:prstClr val="black"/>
                </a:solidFill>
                <a:latin typeface="Calibri"/>
                <a:hlinkClick r:id="rId10"/>
              </a:rPr>
              <a:t>https://nok-nark.ru/</a:t>
            </a:r>
            <a:r>
              <a:rPr lang="ru-RU" sz="1200" kern="0" dirty="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179011" indent="-179011" defTabSz="912480">
              <a:spcAft>
                <a:spcPts val="599"/>
              </a:spcAft>
              <a:buFont typeface="Arial" panose="020B0604020202020204" pitchFamily="34" charset="0"/>
              <a:buChar char="•"/>
            </a:pPr>
            <a:r>
              <a:rPr lang="ru-RU" sz="1200" kern="0" dirty="0">
                <a:solidFill>
                  <a:prstClr val="black"/>
                </a:solidFill>
                <a:latin typeface="Calibri"/>
              </a:rPr>
              <a:t>Цифровая </a:t>
            </a:r>
            <a:r>
              <a:rPr lang="ru-RU" sz="1200" kern="0" dirty="0">
                <a:solidFill>
                  <a:prstClr val="black"/>
                </a:solidFill>
              </a:rPr>
              <a:t>платформа Совета по профессиональным квалификациям в наноиндстрии </a:t>
            </a:r>
            <a:r>
              <a:rPr lang="en-US" sz="1200" kern="0" dirty="0">
                <a:solidFill>
                  <a:prstClr val="black"/>
                </a:solidFill>
                <a:hlinkClick r:id="rId11"/>
              </a:rPr>
              <a:t>https://spknano.ru/</a:t>
            </a:r>
            <a:r>
              <a:rPr lang="ru-RU" sz="1200" kern="0" dirty="0">
                <a:solidFill>
                  <a:prstClr val="black"/>
                </a:solidFill>
              </a:rPr>
              <a:t> :</a:t>
            </a:r>
          </a:p>
          <a:p>
            <a:pPr marL="359606" indent="-180595" defTabSz="912480">
              <a:spcAft>
                <a:spcPts val="200"/>
              </a:spcAft>
            </a:pPr>
            <a:r>
              <a:rPr lang="ru-RU" sz="1200" kern="0" dirty="0">
                <a:solidFill>
                  <a:prstClr val="black"/>
                </a:solidFill>
              </a:rPr>
              <a:t>-    электронная система </a:t>
            </a:r>
            <a:r>
              <a:rPr lang="ru-RU" sz="1200" kern="0" dirty="0">
                <a:solidFill>
                  <a:prstClr val="black"/>
                </a:solidFill>
                <a:latin typeface="Calibri"/>
              </a:rPr>
              <a:t>оценки квалификаций и процедур аккредитации;  </a:t>
            </a:r>
          </a:p>
          <a:p>
            <a:pPr marL="350101" indent="-171090" defTabSz="912480">
              <a:spcAft>
                <a:spcPts val="200"/>
              </a:spcAft>
              <a:buFontTx/>
              <a:buChar char="-"/>
              <a:defRPr/>
            </a:pPr>
            <a:r>
              <a:rPr lang="ru-RU" sz="1200" kern="0" dirty="0">
                <a:solidFill>
                  <a:prstClr val="black"/>
                </a:solidFill>
                <a:latin typeface="Calibri"/>
              </a:rPr>
              <a:t>база знаний  и реестры экспертов;</a:t>
            </a:r>
          </a:p>
          <a:p>
            <a:pPr marL="350101" indent="-171090" defTabSz="912480">
              <a:spcAft>
                <a:spcPts val="200"/>
              </a:spcAft>
              <a:buFontTx/>
              <a:buChar char="-"/>
              <a:defRPr/>
            </a:pPr>
            <a:r>
              <a:rPr lang="ru-RU" sz="1200" kern="0" dirty="0">
                <a:solidFill>
                  <a:prstClr val="black"/>
                </a:solidFill>
                <a:latin typeface="Calibri"/>
              </a:rPr>
              <a:t>примеры оценочных средств;</a:t>
            </a:r>
          </a:p>
          <a:p>
            <a:pPr marL="179011" defTabSz="912480">
              <a:spcAft>
                <a:spcPts val="599"/>
              </a:spcAft>
              <a:defRPr/>
            </a:pPr>
            <a:r>
              <a:rPr lang="ru-RU" sz="1200" kern="0" dirty="0">
                <a:solidFill>
                  <a:prstClr val="black"/>
                </a:solidFill>
                <a:latin typeface="Calibri"/>
              </a:rPr>
              <a:t>-    результаты мониторинговых исследований</a:t>
            </a:r>
          </a:p>
          <a:p>
            <a:pPr defTabSz="912480">
              <a:spcAft>
                <a:spcPts val="599"/>
              </a:spcAft>
              <a:defRPr/>
            </a:pPr>
            <a:r>
              <a:rPr lang="ru-RU" sz="1197" kern="0" dirty="0">
                <a:solidFill>
                  <a:prstClr val="black"/>
                </a:solidFill>
                <a:latin typeface="Calibri"/>
              </a:rPr>
              <a:t> </a:t>
            </a:r>
          </a:p>
          <a:p>
            <a:pPr defTabSz="912480">
              <a:spcAft>
                <a:spcPts val="599"/>
              </a:spcAft>
              <a:defRPr/>
            </a:pPr>
            <a:endParaRPr lang="ru-RU" sz="1597" kern="0" dirty="0">
              <a:solidFill>
                <a:srgbClr val="D61D7D"/>
              </a:solidFill>
              <a:latin typeface="Calibri"/>
            </a:endParaRPr>
          </a:p>
        </p:txBody>
      </p:sp>
      <p:sp>
        <p:nvSpPr>
          <p:cNvPr id="60" name="Прямоугольник: скругленные углы 59">
            <a:extLst>
              <a:ext uri="{FF2B5EF4-FFF2-40B4-BE49-F238E27FC236}">
                <a16:creationId xmlns:a16="http://schemas.microsoft.com/office/drawing/2014/main" id="{58F33DE7-719E-4072-9D29-07D08B4833BF}"/>
              </a:ext>
            </a:extLst>
          </p:cNvPr>
          <p:cNvSpPr/>
          <p:nvPr/>
        </p:nvSpPr>
        <p:spPr>
          <a:xfrm>
            <a:off x="9415819" y="2213450"/>
            <a:ext cx="2515745" cy="671246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457">
              <a:defRPr/>
            </a:pPr>
            <a:r>
              <a:rPr lang="ru-RU" sz="1597" dirty="0">
                <a:solidFill>
                  <a:schemeClr val="tx1"/>
                </a:solidFill>
                <a:latin typeface="Calibri" panose="020F0502020204030204"/>
              </a:rPr>
              <a:t>Реализация Национальных проектов</a:t>
            </a:r>
          </a:p>
        </p:txBody>
      </p:sp>
      <p:sp>
        <p:nvSpPr>
          <p:cNvPr id="63" name="Прямоугольник: скругленные углы 62">
            <a:extLst>
              <a:ext uri="{FF2B5EF4-FFF2-40B4-BE49-F238E27FC236}">
                <a16:creationId xmlns:a16="http://schemas.microsoft.com/office/drawing/2014/main" id="{306CB171-F1B6-4AC7-BCF8-9F96B16F1B31}"/>
              </a:ext>
            </a:extLst>
          </p:cNvPr>
          <p:cNvSpPr/>
          <p:nvPr/>
        </p:nvSpPr>
        <p:spPr>
          <a:xfrm>
            <a:off x="9415819" y="2990350"/>
            <a:ext cx="2515745" cy="671246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457">
              <a:defRPr/>
            </a:pPr>
            <a:r>
              <a:rPr lang="ru-RU" sz="1597" dirty="0">
                <a:solidFill>
                  <a:schemeClr val="tx1"/>
                </a:solidFill>
                <a:latin typeface="Calibri" panose="020F0502020204030204"/>
              </a:rPr>
              <a:t>Формирование опережающего заказа  по подготовке кадров </a:t>
            </a:r>
          </a:p>
        </p:txBody>
      </p:sp>
    </p:spTree>
    <p:extLst>
      <p:ext uri="{BB962C8B-B14F-4D97-AF65-F5344CB8AC3E}">
        <p14:creationId xmlns:p14="http://schemas.microsoft.com/office/powerpoint/2010/main" val="3126920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8E697E85-D812-49E3-BB4B-8AD1AB7EE5E3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4</a:t>
            </a:fld>
            <a:endParaRPr lang="ru-RU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0637DD3F-AE4F-4229-B2C6-981FD723E4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5900" y="1346966"/>
            <a:ext cx="2609301" cy="260930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372720A-C0D9-44B9-8229-ADE651242E6C}"/>
              </a:ext>
            </a:extLst>
          </p:cNvPr>
          <p:cNvSpPr txBox="1"/>
          <p:nvPr/>
        </p:nvSpPr>
        <p:spPr>
          <a:xfrm>
            <a:off x="292100" y="4193683"/>
            <a:ext cx="2748502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dirty="0"/>
              <a:t>Сергей Цыбуков</a:t>
            </a:r>
          </a:p>
          <a:p>
            <a:r>
              <a:rPr lang="ru-RU" dirty="0"/>
              <a:t>генеральный директор </a:t>
            </a:r>
          </a:p>
          <a:p>
            <a:r>
              <a:rPr lang="ru-RU" dirty="0"/>
              <a:t>«НПО «Комсомольская Правда»</a:t>
            </a:r>
          </a:p>
        </p:txBody>
      </p:sp>
      <p:pic>
        <p:nvPicPr>
          <p:cNvPr id="43010" name="Picture 2">
            <a:extLst>
              <a:ext uri="{FF2B5EF4-FFF2-40B4-BE49-F238E27FC236}">
                <a16:creationId xmlns:a16="http://schemas.microsoft.com/office/drawing/2014/main" id="{DBC29067-EC1C-405D-905E-954CAF2C94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3096" y="1441450"/>
            <a:ext cx="3324056" cy="2280091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D255E0BA-3C0C-426E-B305-1DB93B9F9CA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7300" y="1179400"/>
            <a:ext cx="2719196" cy="2719196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31885225-4F01-4BAE-B97E-9C01B2BC7D60}"/>
              </a:ext>
            </a:extLst>
          </p:cNvPr>
          <p:cNvSpPr txBox="1"/>
          <p:nvPr/>
        </p:nvSpPr>
        <p:spPr>
          <a:xfrm>
            <a:off x="3867554" y="4233266"/>
            <a:ext cx="35814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dirty="0"/>
              <a:t>Дмитрий Чернейко</a:t>
            </a:r>
          </a:p>
          <a:p>
            <a:r>
              <a:rPr lang="ru-RU" dirty="0"/>
              <a:t>Председатель комитета по труду и занятости Санкт-Петербурга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6F3DCD6-3330-46D7-BE8B-E16325B144F7}"/>
              </a:ext>
            </a:extLst>
          </p:cNvPr>
          <p:cNvSpPr txBox="1"/>
          <p:nvPr/>
        </p:nvSpPr>
        <p:spPr>
          <a:xfrm>
            <a:off x="8369300" y="4193683"/>
            <a:ext cx="3137852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dirty="0"/>
              <a:t>Виктор Лучинин</a:t>
            </a:r>
          </a:p>
          <a:p>
            <a:r>
              <a:rPr lang="ru-RU" dirty="0"/>
              <a:t>Заведующий кафедрой «Микро и наноэлектроники»</a:t>
            </a:r>
          </a:p>
          <a:p>
            <a:r>
              <a:rPr lang="ru-RU" dirty="0"/>
              <a:t>СПбГЭ «ЛЭТИ»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0D86E9C-1844-49D8-8BF5-057518D978ED}"/>
              </a:ext>
            </a:extLst>
          </p:cNvPr>
          <p:cNvSpPr txBox="1"/>
          <p:nvPr/>
        </p:nvSpPr>
        <p:spPr>
          <a:xfrm>
            <a:off x="461149" y="432022"/>
            <a:ext cx="166955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b="1" dirty="0"/>
              <a:t>МОДЕЛЬ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F0D1275-7965-4320-90BE-8589D2F4D966}"/>
              </a:ext>
            </a:extLst>
          </p:cNvPr>
          <p:cNvSpPr txBox="1"/>
          <p:nvPr/>
        </p:nvSpPr>
        <p:spPr>
          <a:xfrm>
            <a:off x="4491582" y="456997"/>
            <a:ext cx="156604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b="1" dirty="0"/>
              <a:t>МАСШТАБ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ACC4ECB-B7EC-4F79-BDA8-16663EC2247B}"/>
              </a:ext>
            </a:extLst>
          </p:cNvPr>
          <p:cNvSpPr txBox="1"/>
          <p:nvPr/>
        </p:nvSpPr>
        <p:spPr>
          <a:xfrm>
            <a:off x="8754043" y="456997"/>
            <a:ext cx="243465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b="1" dirty="0"/>
              <a:t>ПЕРСПЕКТИВА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BD7C675-6207-4A67-AD4C-ED55B21901AA}"/>
              </a:ext>
            </a:extLst>
          </p:cNvPr>
          <p:cNvSpPr txBox="1"/>
          <p:nvPr/>
        </p:nvSpPr>
        <p:spPr>
          <a:xfrm>
            <a:off x="1666351" y="6214624"/>
            <a:ext cx="857235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ФОРМИРОВАНИЕ ОСНОВ КАДРОВОГО ПРОЕКТИРОВАНИЯ НОВОГО ПОКОЛЕНИЯ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173872B7-96BD-48BD-85E7-3310368A9B4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5400000">
            <a:off x="5662178" y="419876"/>
            <a:ext cx="842243" cy="11734799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E841FFFF-A15C-4B68-B4EC-298A077878A3}"/>
              </a:ext>
            </a:extLst>
          </p:cNvPr>
          <p:cNvSpPr txBox="1"/>
          <p:nvPr/>
        </p:nvSpPr>
        <p:spPr>
          <a:xfrm>
            <a:off x="1520550" y="6043209"/>
            <a:ext cx="974435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chemeClr val="bg1"/>
                </a:solidFill>
              </a:rPr>
              <a:t>ФОРМИРОВАНИЕ ОСНОВ КАДРОВОГО ПРОЕКТИРОВАНИЯ НОВОГО ПОКОЛЕНИЯ</a:t>
            </a:r>
          </a:p>
        </p:txBody>
      </p:sp>
    </p:spTree>
    <p:extLst>
      <p:ext uri="{BB962C8B-B14F-4D97-AF65-F5344CB8AC3E}">
        <p14:creationId xmlns:p14="http://schemas.microsoft.com/office/powerpoint/2010/main" val="20385087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D:\Документы\2019\Цыбуков\к ролику КП\преза_ 08.10\fwd2\DSC_0136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106897"/>
            <a:ext cx="12164205" cy="91319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ятиугольник 4"/>
          <p:cNvSpPr/>
          <p:nvPr/>
        </p:nvSpPr>
        <p:spPr>
          <a:xfrm flipH="1">
            <a:off x="9020216" y="490876"/>
            <a:ext cx="3022712" cy="1518784"/>
          </a:xfrm>
          <a:prstGeom prst="homePlate">
            <a:avLst>
              <a:gd name="adj" fmla="val 21709"/>
            </a:avLst>
          </a:prstGeom>
          <a:gradFill>
            <a:gsLst>
              <a:gs pos="0">
                <a:srgbClr val="2C284A"/>
              </a:gs>
              <a:gs pos="50000">
                <a:srgbClr val="2C284A">
                  <a:alpha val="49000"/>
                </a:srgbClr>
              </a:gs>
              <a:gs pos="100000">
                <a:srgbClr val="2C284A">
                  <a:alpha val="0"/>
                  <a:lumMod val="44000"/>
                </a:srgbClr>
              </a:gs>
            </a:gsLst>
            <a:lin ang="10800000" scaled="0"/>
          </a:gradFill>
          <a:ln>
            <a:noFill/>
          </a:ln>
        </p:spPr>
        <p:txBody>
          <a:bodyPr wrap="square" anchor="ctr">
            <a:noAutofit/>
          </a:bodyPr>
          <a:lstStyle/>
          <a:p>
            <a:pPr marL="266140" defTabSz="912480"/>
            <a:r>
              <a:rPr lang="ru-RU" sz="2994" b="1" dirty="0">
                <a:solidFill>
                  <a:prstClr val="white"/>
                </a:solidFill>
                <a:latin typeface="Gotham Pro" panose="02000503040000020004" pitchFamily="50" charset="0"/>
                <a:cs typeface="Gotham Pro" panose="02000503040000020004" pitchFamily="50" charset="0"/>
              </a:rPr>
              <a:t>800 КМ </a:t>
            </a:r>
          </a:p>
          <a:p>
            <a:pPr marL="266140" defTabSz="912480"/>
            <a:r>
              <a:rPr lang="ru-RU" sz="2994" b="1" dirty="0">
                <a:solidFill>
                  <a:prstClr val="white"/>
                </a:solidFill>
                <a:latin typeface="Gotham Pro" panose="02000503040000020004" pitchFamily="50" charset="0"/>
                <a:cs typeface="Gotham Pro" panose="02000503040000020004" pitchFamily="50" charset="0"/>
              </a:rPr>
              <a:t>40 тонн </a:t>
            </a:r>
            <a:endParaRPr lang="ru-RU" sz="2994" dirty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788544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2C284F"/>
            </a:gs>
            <a:gs pos="100000">
              <a:srgbClr val="2C284D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/>
        </p:nvSpPr>
        <p:spPr>
          <a:xfrm>
            <a:off x="713391" y="414268"/>
            <a:ext cx="6262298" cy="55194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2480"/>
            <a:r>
              <a:rPr lang="ru-RU" sz="2994" b="1" cap="all" dirty="0">
                <a:solidFill>
                  <a:srgbClr val="7571A3"/>
                </a:solidFill>
                <a:latin typeface="Gotham Pro" panose="02000503040000020004" pitchFamily="50" charset="0"/>
                <a:cs typeface="Gotham Pro" panose="02000503040000020004" pitchFamily="50" charset="0"/>
              </a:rPr>
              <a:t>САНИ: проблемное поле проекта</a:t>
            </a:r>
          </a:p>
        </p:txBody>
      </p:sp>
      <p:sp>
        <p:nvSpPr>
          <p:cNvPr id="14" name="AutoShape 2" descr="Картинки по запросу политех логотипы"/>
          <p:cNvSpPr>
            <a:spLocks noChangeAspect="1" noChangeArrowheads="1"/>
          </p:cNvSpPr>
          <p:nvPr/>
        </p:nvSpPr>
        <p:spPr bwMode="auto">
          <a:xfrm>
            <a:off x="155251" y="-143368"/>
            <a:ext cx="304165" cy="304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250" tIns="45625" rIns="91250" bIns="45625" numCol="1" anchor="t" anchorCtr="0" compatLnSpc="1">
            <a:prstTxWarp prst="textNoShape">
              <a:avLst/>
            </a:prstTxWarp>
          </a:bodyPr>
          <a:lstStyle/>
          <a:p>
            <a:pPr defTabSz="912480"/>
            <a:endParaRPr lang="ru-RU" sz="1796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6" name="AutoShape 6" descr="Картинки по запросу политех логотипы CML"/>
          <p:cNvSpPr>
            <a:spLocks noChangeAspect="1" noChangeArrowheads="1"/>
          </p:cNvSpPr>
          <p:nvPr/>
        </p:nvSpPr>
        <p:spPr bwMode="auto">
          <a:xfrm>
            <a:off x="307333" y="8715"/>
            <a:ext cx="304165" cy="304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250" tIns="45625" rIns="91250" bIns="45625" numCol="1" anchor="t" anchorCtr="0" compatLnSpc="1">
            <a:prstTxWarp prst="textNoShape">
              <a:avLst/>
            </a:prstTxWarp>
          </a:bodyPr>
          <a:lstStyle/>
          <a:p>
            <a:pPr defTabSz="912480"/>
            <a:endParaRPr lang="ru-RU" sz="1796" dirty="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335501" y="1405150"/>
            <a:ext cx="10112638" cy="4999512"/>
            <a:chOff x="479422" y="1495424"/>
            <a:chExt cx="10133750" cy="5009949"/>
          </a:xfrm>
        </p:grpSpPr>
        <p:pic>
          <p:nvPicPr>
            <p:cNvPr id="5122" name="Picture 2" descr="C:\Users\Яна\Desktop\Рисунок4_.png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142"/>
            <a:stretch/>
          </p:blipFill>
          <p:spPr bwMode="auto">
            <a:xfrm>
              <a:off x="963348" y="2358059"/>
              <a:ext cx="8434042" cy="26044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Выноска 1 (с границей) 4"/>
            <p:cNvSpPr/>
            <p:nvPr/>
          </p:nvSpPr>
          <p:spPr>
            <a:xfrm>
              <a:off x="8291509" y="3994726"/>
              <a:ext cx="1638304" cy="612648"/>
            </a:xfrm>
            <a:prstGeom prst="accentCallout1">
              <a:avLst>
                <a:gd name="adj1" fmla="val 18750"/>
                <a:gd name="adj2" fmla="val -8333"/>
                <a:gd name="adj3" fmla="val -76437"/>
                <a:gd name="adj4" fmla="val -65373"/>
              </a:avLst>
            </a:prstGeom>
            <a:noFill/>
            <a:ln>
              <a:solidFill>
                <a:srgbClr val="7571A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2480"/>
              <a:r>
                <a:rPr lang="ru-RU" sz="1397" dirty="0">
                  <a:solidFill>
                    <a:prstClr val="white"/>
                  </a:solidFill>
                  <a:latin typeface="Gotham Pro" panose="02000503040000020004" pitchFamily="50" charset="0"/>
                  <a:cs typeface="Gotham Pro" panose="02000503040000020004" pitchFamily="50" charset="0"/>
                </a:rPr>
                <a:t>давление на грунт 60 т</a:t>
              </a:r>
              <a:r>
                <a:rPr lang="en-US" sz="1397" dirty="0">
                  <a:solidFill>
                    <a:prstClr val="white"/>
                  </a:solidFill>
                  <a:latin typeface="Gotham Pro" panose="02000503040000020004" pitchFamily="50" charset="0"/>
                  <a:cs typeface="Gotham Pro" panose="02000503040000020004" pitchFamily="50" charset="0"/>
                </a:rPr>
                <a:t>.</a:t>
              </a:r>
              <a:endParaRPr lang="ru-RU" sz="1397" dirty="0">
                <a:solidFill>
                  <a:prstClr val="white"/>
                </a:solidFill>
                <a:latin typeface="Gotham Pro" panose="02000503040000020004" pitchFamily="50" charset="0"/>
                <a:cs typeface="Gotham Pro" panose="02000503040000020004" pitchFamily="50" charset="0"/>
              </a:endParaRPr>
            </a:p>
          </p:txBody>
        </p:sp>
        <p:sp>
          <p:nvSpPr>
            <p:cNvPr id="7" name="Выноска 1 (с границей) 6"/>
            <p:cNvSpPr/>
            <p:nvPr/>
          </p:nvSpPr>
          <p:spPr>
            <a:xfrm>
              <a:off x="8058146" y="4850145"/>
              <a:ext cx="1988461" cy="612648"/>
            </a:xfrm>
            <a:prstGeom prst="accentCallout1">
              <a:avLst>
                <a:gd name="adj1" fmla="val 18750"/>
                <a:gd name="adj2" fmla="val -8333"/>
                <a:gd name="adj3" fmla="val -197631"/>
                <a:gd name="adj4" fmla="val -63637"/>
              </a:avLst>
            </a:prstGeom>
            <a:noFill/>
            <a:ln>
              <a:solidFill>
                <a:srgbClr val="7571A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2480"/>
              <a:r>
                <a:rPr lang="ru-RU" sz="1397" dirty="0">
                  <a:solidFill>
                    <a:prstClr val="white"/>
                  </a:solidFill>
                  <a:latin typeface="Gotham Pro" panose="02000503040000020004" pitchFamily="50" charset="0"/>
                  <a:cs typeface="Gotham Pro" panose="02000503040000020004" pitchFamily="50" charset="0"/>
                </a:rPr>
                <a:t>пневмобаллоны</a:t>
              </a:r>
            </a:p>
          </p:txBody>
        </p:sp>
        <p:sp>
          <p:nvSpPr>
            <p:cNvPr id="9" name="Выноска 1 (с границей) 8"/>
            <p:cNvSpPr/>
            <p:nvPr/>
          </p:nvSpPr>
          <p:spPr>
            <a:xfrm>
              <a:off x="7724771" y="5705563"/>
              <a:ext cx="1654629" cy="612648"/>
            </a:xfrm>
            <a:prstGeom prst="accentCallout1">
              <a:avLst>
                <a:gd name="adj1" fmla="val 18750"/>
                <a:gd name="adj2" fmla="val -8333"/>
                <a:gd name="adj3" fmla="val -361840"/>
                <a:gd name="adj4" fmla="val -79724"/>
              </a:avLst>
            </a:prstGeom>
            <a:noFill/>
            <a:ln>
              <a:solidFill>
                <a:srgbClr val="7571A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2480"/>
              <a:r>
                <a:rPr lang="ru-RU" sz="1397" dirty="0">
                  <a:solidFill>
                    <a:prstClr val="white"/>
                  </a:solidFill>
                  <a:latin typeface="Gotham Pro" panose="02000503040000020004" pitchFamily="50" charset="0"/>
                  <a:cs typeface="Gotham Pro" panose="02000503040000020004" pitchFamily="50" charset="0"/>
                </a:rPr>
                <a:t>жесткость рамы </a:t>
              </a:r>
            </a:p>
          </p:txBody>
        </p:sp>
        <p:sp>
          <p:nvSpPr>
            <p:cNvPr id="10" name="Выноска 1 (с границей) 9"/>
            <p:cNvSpPr/>
            <p:nvPr/>
          </p:nvSpPr>
          <p:spPr>
            <a:xfrm flipH="1">
              <a:off x="1136649" y="1495424"/>
              <a:ext cx="2017485" cy="612648"/>
            </a:xfrm>
            <a:prstGeom prst="accentCallout1">
              <a:avLst>
                <a:gd name="adj1" fmla="val 18750"/>
                <a:gd name="adj2" fmla="val -8333"/>
                <a:gd name="adj3" fmla="val 249834"/>
                <a:gd name="adj4" fmla="val -161695"/>
              </a:avLst>
            </a:prstGeom>
            <a:noFill/>
            <a:ln>
              <a:solidFill>
                <a:srgbClr val="7571A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 defTabSz="912480"/>
              <a:r>
                <a:rPr lang="ru-RU" sz="1397" dirty="0">
                  <a:solidFill>
                    <a:prstClr val="white"/>
                  </a:solidFill>
                  <a:latin typeface="Gotham Pro" panose="02000503040000020004" pitchFamily="50" charset="0"/>
                  <a:cs typeface="Gotham Pro" panose="02000503040000020004" pitchFamily="50" charset="0"/>
                </a:rPr>
                <a:t>смещение</a:t>
              </a:r>
            </a:p>
            <a:p>
              <a:pPr algn="r" defTabSz="912480"/>
              <a:r>
                <a:rPr lang="ru-RU" sz="1397" dirty="0">
                  <a:solidFill>
                    <a:prstClr val="white"/>
                  </a:solidFill>
                  <a:latin typeface="Gotham Pro" panose="02000503040000020004" pitchFamily="50" charset="0"/>
                  <a:cs typeface="Gotham Pro" panose="02000503040000020004" pitchFamily="50" charset="0"/>
                </a:rPr>
                <a:t>центра масс  </a:t>
              </a:r>
            </a:p>
          </p:txBody>
        </p:sp>
        <p:sp>
          <p:nvSpPr>
            <p:cNvPr id="11" name="Выноска 1 (с границей) 10"/>
            <p:cNvSpPr/>
            <p:nvPr/>
          </p:nvSpPr>
          <p:spPr>
            <a:xfrm flipH="1">
              <a:off x="479422" y="2457740"/>
              <a:ext cx="2017485" cy="799810"/>
            </a:xfrm>
            <a:prstGeom prst="accentCallout1">
              <a:avLst>
                <a:gd name="adj1" fmla="val 18750"/>
                <a:gd name="adj2" fmla="val -8333"/>
                <a:gd name="adj3" fmla="val 160411"/>
                <a:gd name="adj4" fmla="val -146328"/>
              </a:avLst>
            </a:prstGeom>
            <a:noFill/>
            <a:ln>
              <a:solidFill>
                <a:srgbClr val="7571A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 defTabSz="912480"/>
              <a:r>
                <a:rPr lang="ru-RU" sz="1397" dirty="0">
                  <a:solidFill>
                    <a:prstClr val="white"/>
                  </a:solidFill>
                  <a:latin typeface="Gotham Pro" panose="02000503040000020004" pitchFamily="50" charset="0"/>
                  <a:cs typeface="Gotham Pro" panose="02000503040000020004" pitchFamily="50" charset="0"/>
                </a:rPr>
                <a:t>максимальное</a:t>
              </a:r>
            </a:p>
            <a:p>
              <a:pPr algn="r" defTabSz="912480"/>
              <a:r>
                <a:rPr lang="ru-RU" sz="1397" dirty="0">
                  <a:solidFill>
                    <a:prstClr val="white"/>
                  </a:solidFill>
                  <a:latin typeface="Gotham Pro" panose="02000503040000020004" pitchFamily="50" charset="0"/>
                  <a:cs typeface="Gotham Pro" panose="02000503040000020004" pitchFamily="50" charset="0"/>
                </a:rPr>
                <a:t>тягловое </a:t>
              </a:r>
            </a:p>
            <a:p>
              <a:pPr algn="r" defTabSz="912480"/>
              <a:r>
                <a:rPr lang="ru-RU" sz="1397" dirty="0">
                  <a:solidFill>
                    <a:prstClr val="white"/>
                  </a:solidFill>
                  <a:latin typeface="Gotham Pro" panose="02000503040000020004" pitchFamily="50" charset="0"/>
                  <a:cs typeface="Gotham Pro" panose="02000503040000020004" pitchFamily="50" charset="0"/>
                </a:rPr>
                <a:t>усилие  </a:t>
              </a:r>
            </a:p>
          </p:txBody>
        </p:sp>
        <p:sp>
          <p:nvSpPr>
            <p:cNvPr id="12" name="Выноска 1 (с границей) 11"/>
            <p:cNvSpPr/>
            <p:nvPr/>
          </p:nvSpPr>
          <p:spPr>
            <a:xfrm>
              <a:off x="8624711" y="3139307"/>
              <a:ext cx="1988461" cy="612648"/>
            </a:xfrm>
            <a:prstGeom prst="accentCallout1">
              <a:avLst>
                <a:gd name="adj1" fmla="val 18750"/>
                <a:gd name="adj2" fmla="val -8333"/>
                <a:gd name="adj3" fmla="val 31580"/>
                <a:gd name="adj4" fmla="val -42546"/>
              </a:avLst>
            </a:prstGeom>
            <a:noFill/>
            <a:ln>
              <a:solidFill>
                <a:srgbClr val="7571A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2480"/>
              <a:r>
                <a:rPr lang="ru-RU" sz="1397" dirty="0">
                  <a:solidFill>
                    <a:prstClr val="white"/>
                  </a:solidFill>
                  <a:latin typeface="Gotham Pro" panose="02000503040000020004" pitchFamily="50" charset="0"/>
                  <a:cs typeface="Gotham Pro" panose="02000503040000020004" pitchFamily="50" charset="0"/>
                </a:rPr>
                <a:t>прочность</a:t>
              </a:r>
            </a:p>
            <a:p>
              <a:pPr defTabSz="912480"/>
              <a:r>
                <a:rPr lang="ru-RU" sz="1397" dirty="0">
                  <a:solidFill>
                    <a:prstClr val="white"/>
                  </a:solidFill>
                  <a:latin typeface="Gotham Pro" panose="02000503040000020004" pitchFamily="50" charset="0"/>
                  <a:cs typeface="Gotham Pro" panose="02000503040000020004" pitchFamily="50" charset="0"/>
                </a:rPr>
                <a:t>элементов</a:t>
              </a:r>
            </a:p>
          </p:txBody>
        </p:sp>
        <p:sp>
          <p:nvSpPr>
            <p:cNvPr id="19" name="Выноска 1 (с границей) 18"/>
            <p:cNvSpPr/>
            <p:nvPr/>
          </p:nvSpPr>
          <p:spPr>
            <a:xfrm flipH="1">
              <a:off x="1317622" y="4850145"/>
              <a:ext cx="2017485" cy="799810"/>
            </a:xfrm>
            <a:prstGeom prst="accentCallout1">
              <a:avLst>
                <a:gd name="adj1" fmla="val 18750"/>
                <a:gd name="adj2" fmla="val -8333"/>
                <a:gd name="adj3" fmla="val -119339"/>
                <a:gd name="adj4" fmla="val -104059"/>
              </a:avLst>
            </a:prstGeom>
            <a:noFill/>
            <a:ln>
              <a:solidFill>
                <a:srgbClr val="7571A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 defTabSz="912480"/>
              <a:r>
                <a:rPr lang="ru-RU" sz="1397" dirty="0">
                  <a:solidFill>
                    <a:prstClr val="white"/>
                  </a:solidFill>
                  <a:latin typeface="Gotham Pro" panose="02000503040000020004" pitchFamily="50" charset="0"/>
                  <a:cs typeface="Gotham Pro" panose="02000503040000020004" pitchFamily="50" charset="0"/>
                </a:rPr>
                <a:t>кинематика движения</a:t>
              </a:r>
            </a:p>
          </p:txBody>
        </p:sp>
        <p:sp>
          <p:nvSpPr>
            <p:cNvPr id="20" name="Выноска 1 (с границей) 19"/>
            <p:cNvSpPr/>
            <p:nvPr/>
          </p:nvSpPr>
          <p:spPr>
            <a:xfrm flipH="1">
              <a:off x="2279647" y="5705563"/>
              <a:ext cx="2017485" cy="799810"/>
            </a:xfrm>
            <a:prstGeom prst="accentCallout1">
              <a:avLst>
                <a:gd name="adj1" fmla="val 34232"/>
                <a:gd name="adj2" fmla="val -6917"/>
                <a:gd name="adj3" fmla="val -236161"/>
                <a:gd name="adj4" fmla="val -65123"/>
              </a:avLst>
            </a:prstGeom>
            <a:noFill/>
            <a:ln>
              <a:solidFill>
                <a:srgbClr val="7571A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 defTabSz="912480"/>
              <a:r>
                <a:rPr lang="ru-RU" sz="1397" dirty="0">
                  <a:solidFill>
                    <a:prstClr val="white"/>
                  </a:solidFill>
                  <a:latin typeface="Gotham Pro" panose="02000503040000020004" pitchFamily="50" charset="0"/>
                  <a:cs typeface="Gotham Pro" panose="02000503040000020004" pitchFamily="50" charset="0"/>
                </a:rPr>
                <a:t>движение </a:t>
              </a:r>
            </a:p>
            <a:p>
              <a:pPr algn="r" defTabSz="912480"/>
              <a:r>
                <a:rPr lang="ru-RU" sz="1397" dirty="0">
                  <a:solidFill>
                    <a:prstClr val="white"/>
                  </a:solidFill>
                  <a:latin typeface="Gotham Pro" panose="02000503040000020004" pitchFamily="50" charset="0"/>
                  <a:cs typeface="Gotham Pro" panose="02000503040000020004" pitchFamily="50" charset="0"/>
                </a:rPr>
                <a:t>по неровностям</a:t>
              </a:r>
            </a:p>
          </p:txBody>
        </p:sp>
      </p:grpSp>
      <p:grpSp>
        <p:nvGrpSpPr>
          <p:cNvPr id="3" name="Группа 2"/>
          <p:cNvGrpSpPr/>
          <p:nvPr/>
        </p:nvGrpSpPr>
        <p:grpSpPr>
          <a:xfrm>
            <a:off x="10067876" y="846526"/>
            <a:ext cx="1996083" cy="2956590"/>
            <a:chOff x="10132963" y="638175"/>
            <a:chExt cx="2000250" cy="2962762"/>
          </a:xfrm>
        </p:grpSpPr>
        <p:pic>
          <p:nvPicPr>
            <p:cNvPr id="5123" name="Picture 3" descr="D:\Документы\2019\Цыбуков\к ролику КП\преза_ 08.10\Gmail(9)\центр.png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3760" t="49162" r="14146" b="44297"/>
            <a:stretch/>
          </p:blipFill>
          <p:spPr bwMode="auto">
            <a:xfrm>
              <a:off x="10213182" y="2617300"/>
              <a:ext cx="1883568" cy="5735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124" name="Picture 4" descr="D:\Документы\2019\Цыбуков\к ролику КП\преза_ 08.10\Gmail(9)\институт.png"/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5044" t="45627" r="15002" b="45628"/>
            <a:stretch/>
          </p:blipFill>
          <p:spPr bwMode="auto">
            <a:xfrm>
              <a:off x="10271554" y="2743482"/>
              <a:ext cx="1733550" cy="8574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125" name="Picture 5" descr="D:\Документы\2019\Цыбуков\к ролику КП\преза_ 08.10\Gmail(9)\политех.png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9195" t="33840" r="8421" b="41445"/>
            <a:stretch/>
          </p:blipFill>
          <p:spPr bwMode="auto">
            <a:xfrm>
              <a:off x="10132963" y="638175"/>
              <a:ext cx="2000250" cy="12382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126" name="Picture 6" descr="D:\Документы\2019\Цыбуков\к ролику КП\преза_ 08.10\Gmail(9)\сд.png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4021" t="31559" r="28273" b="61407"/>
            <a:stretch/>
          </p:blipFill>
          <p:spPr bwMode="auto">
            <a:xfrm>
              <a:off x="10286999" y="1943100"/>
              <a:ext cx="1315995" cy="6762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3264154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778458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 show="0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object 29"/>
          <p:cNvSpPr txBox="1"/>
          <p:nvPr/>
        </p:nvSpPr>
        <p:spPr>
          <a:xfrm>
            <a:off x="2775417" y="273573"/>
            <a:ext cx="6723380" cy="28757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55980" marR="5080" lvl="0" indent="-843915" algn="l" defTabSz="914400" rtl="0" eaLnBrk="1" fontAlgn="auto" latinLnBrk="0" hangingPunct="1">
              <a:lnSpc>
                <a:spcPts val="221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250" b="1" i="0" u="none" strike="noStrike" kern="1200" cap="none" spc="-55" normalizeH="0" baseline="0" noProof="0" dirty="0">
                <a:ln>
                  <a:noFill/>
                </a:ln>
                <a:solidFill>
                  <a:srgbClr val="8064A2">
                    <a:lumMod val="75000"/>
                  </a:srgbClr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Gotham Pro"/>
              </a:rPr>
              <a:t>ЭКОСИСТЕМА</a:t>
            </a:r>
            <a:r>
              <a:rPr kumimoji="0" sz="2250" b="1" i="0" u="none" strike="noStrike" kern="1200" cap="none" spc="-15" normalizeH="0" baseline="0" noProof="0" dirty="0">
                <a:ln>
                  <a:noFill/>
                </a:ln>
                <a:solidFill>
                  <a:srgbClr val="8064A2">
                    <a:lumMod val="75000"/>
                  </a:srgbClr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Gotham Pro"/>
              </a:rPr>
              <a:t> </a:t>
            </a:r>
            <a:r>
              <a:rPr kumimoji="0" sz="2250" b="1" i="0" u="none" strike="noStrike" kern="1200" cap="none" spc="-55" normalizeH="0" baseline="0" noProof="0" dirty="0">
                <a:ln>
                  <a:noFill/>
                </a:ln>
                <a:solidFill>
                  <a:srgbClr val="8064A2">
                    <a:lumMod val="75000"/>
                  </a:srgbClr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Gotham Pro"/>
              </a:rPr>
              <a:t>И</a:t>
            </a:r>
            <a:r>
              <a:rPr kumimoji="0" sz="2250" b="1" i="0" u="none" strike="noStrike" kern="1200" cap="none" spc="-15" normalizeH="0" baseline="0" noProof="0" dirty="0">
                <a:ln>
                  <a:noFill/>
                </a:ln>
                <a:solidFill>
                  <a:srgbClr val="8064A2">
                    <a:lumMod val="75000"/>
                  </a:srgbClr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Gotham Pro"/>
              </a:rPr>
              <a:t> </a:t>
            </a:r>
            <a:r>
              <a:rPr kumimoji="0" sz="2250" b="1" i="0" u="none" strike="noStrike" kern="1200" cap="none" spc="-45" normalizeH="0" baseline="0" noProof="0" dirty="0">
                <a:ln>
                  <a:noFill/>
                </a:ln>
                <a:solidFill>
                  <a:srgbClr val="8064A2">
                    <a:lumMod val="75000"/>
                  </a:srgbClr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Gotham Pro"/>
              </a:rPr>
              <a:t>СРЕДА</a:t>
            </a:r>
            <a:endParaRPr kumimoji="0" sz="2250" b="0" i="0" u="none" strike="noStrike" kern="1200" cap="none" spc="0" normalizeH="0" baseline="0" noProof="0" dirty="0">
              <a:ln>
                <a:noFill/>
              </a:ln>
              <a:solidFill>
                <a:srgbClr val="8064A2">
                  <a:lumMod val="75000"/>
                </a:srgbClr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Gotham Pro"/>
            </a:endParaRPr>
          </a:p>
        </p:txBody>
      </p:sp>
      <p:sp>
        <p:nvSpPr>
          <p:cNvPr id="113" name="object 113"/>
          <p:cNvSpPr txBox="1"/>
          <p:nvPr/>
        </p:nvSpPr>
        <p:spPr>
          <a:xfrm>
            <a:off x="1134071" y="1959287"/>
            <a:ext cx="1139229" cy="4307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49275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rgbClr val="8AA0B8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Развитие рынка квалифицированных кадров</a:t>
            </a:r>
            <a:endParaRPr kumimoji="0" sz="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Myriad Pro"/>
            </a:endParaRPr>
          </a:p>
        </p:txBody>
      </p:sp>
      <p:sp>
        <p:nvSpPr>
          <p:cNvPr id="114" name="object 114"/>
          <p:cNvSpPr txBox="1"/>
          <p:nvPr/>
        </p:nvSpPr>
        <p:spPr>
          <a:xfrm>
            <a:off x="9528784" y="1969447"/>
            <a:ext cx="660400" cy="2216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rgbClr val="8AA0B8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Интеграция НСК в МКО</a:t>
            </a:r>
            <a:endParaRPr kumimoji="0" sz="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Myriad Pro"/>
            </a:endParaRPr>
          </a:p>
        </p:txBody>
      </p:sp>
      <p:sp>
        <p:nvSpPr>
          <p:cNvPr id="120" name="object 120"/>
          <p:cNvSpPr txBox="1"/>
          <p:nvPr/>
        </p:nvSpPr>
        <p:spPr>
          <a:xfrm>
            <a:off x="2192959" y="3258497"/>
            <a:ext cx="1869594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35609" marR="5080" lvl="0" indent="-42354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НАУЧНО-ПРОИЗВОДСТВЕННЫЙ КОНСОРЦИУМ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Myriad Pro"/>
            </a:endParaRPr>
          </a:p>
        </p:txBody>
      </p:sp>
      <p:sp>
        <p:nvSpPr>
          <p:cNvPr id="122" name="object 122"/>
          <p:cNvSpPr txBox="1"/>
          <p:nvPr/>
        </p:nvSpPr>
        <p:spPr>
          <a:xfrm>
            <a:off x="1267460" y="4137263"/>
            <a:ext cx="390004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ВУЗЫ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144" name="object 144"/>
          <p:cNvSpPr txBox="1"/>
          <p:nvPr/>
        </p:nvSpPr>
        <p:spPr>
          <a:xfrm>
            <a:off x="5761316" y="3280810"/>
            <a:ext cx="855384" cy="2774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ООО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Myriad Pro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«ЗАВОД «КП»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Myriad Pro"/>
            </a:endParaRPr>
          </a:p>
        </p:txBody>
      </p:sp>
      <p:sp>
        <p:nvSpPr>
          <p:cNvPr id="145" name="object 145"/>
          <p:cNvSpPr txBox="1"/>
          <p:nvPr/>
        </p:nvSpPr>
        <p:spPr>
          <a:xfrm>
            <a:off x="8298433" y="3297651"/>
            <a:ext cx="985267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95885" marR="5080" lvl="0" indent="-838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ПРЕДПРИЯТИЯ- ЗАКАЗЧИКИ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Myriad Pro"/>
            </a:endParaRPr>
          </a:p>
        </p:txBody>
      </p:sp>
      <p:sp>
        <p:nvSpPr>
          <p:cNvPr id="146" name="object 146"/>
          <p:cNvSpPr txBox="1"/>
          <p:nvPr/>
        </p:nvSpPr>
        <p:spPr>
          <a:xfrm>
            <a:off x="10839513" y="3608306"/>
            <a:ext cx="918769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1346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БИЗНЕС- СООБЩЕСТВА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Myriad Pro"/>
            </a:endParaRPr>
          </a:p>
        </p:txBody>
      </p:sp>
      <p:sp>
        <p:nvSpPr>
          <p:cNvPr id="147" name="object 147"/>
          <p:cNvSpPr txBox="1"/>
          <p:nvPr/>
        </p:nvSpPr>
        <p:spPr>
          <a:xfrm>
            <a:off x="10655300" y="4413251"/>
            <a:ext cx="12954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1111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700" b="0" i="0" u="none" strike="noStrike" kern="1200" cap="none" spc="-25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ТЕХНОЛОГИЧЕСКОЕ ПРЕДПРИНИМАТЕЛЬСТВО</a:t>
            </a:r>
            <a:endParaRPr kumimoji="0" sz="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Myriad Pro"/>
            </a:endParaRPr>
          </a:p>
        </p:txBody>
      </p:sp>
      <p:sp>
        <p:nvSpPr>
          <p:cNvPr id="148" name="object 148"/>
          <p:cNvSpPr txBox="1"/>
          <p:nvPr/>
        </p:nvSpPr>
        <p:spPr>
          <a:xfrm>
            <a:off x="10879569" y="5365986"/>
            <a:ext cx="878713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2730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ЭКСПЕРТНОЕ СООБЩЕСТВО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Myriad Pro"/>
            </a:endParaRPr>
          </a:p>
        </p:txBody>
      </p:sp>
      <p:sp>
        <p:nvSpPr>
          <p:cNvPr id="149" name="object 149"/>
          <p:cNvSpPr txBox="1"/>
          <p:nvPr/>
        </p:nvSpPr>
        <p:spPr>
          <a:xfrm>
            <a:off x="10826394" y="3113472"/>
            <a:ext cx="48768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1200" cap="none" spc="0" normalizeH="0" baseline="0" noProof="0" dirty="0">
                <a:ln>
                  <a:noFill/>
                </a:ln>
                <a:solidFill>
                  <a:srgbClr val="C70C57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СРЕДА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150" name="object 150"/>
          <p:cNvSpPr txBox="1"/>
          <p:nvPr/>
        </p:nvSpPr>
        <p:spPr>
          <a:xfrm>
            <a:off x="9312084" y="2961800"/>
            <a:ext cx="588010" cy="2216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37160" marR="5080" lvl="0" indent="-12509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rgbClr val="8AA0B8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Конкурентные условия</a:t>
            </a:r>
            <a:endParaRPr kumimoji="0" sz="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Myriad Pro"/>
            </a:endParaRPr>
          </a:p>
        </p:txBody>
      </p:sp>
      <p:sp>
        <p:nvSpPr>
          <p:cNvPr id="151" name="object 151"/>
          <p:cNvSpPr txBox="1"/>
          <p:nvPr/>
        </p:nvSpPr>
        <p:spPr>
          <a:xfrm>
            <a:off x="5666625" y="2390020"/>
            <a:ext cx="1102475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3124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СПК В НАНОИНДУСТРИИ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Myriad Pro"/>
            </a:endParaRPr>
          </a:p>
        </p:txBody>
      </p:sp>
      <p:sp>
        <p:nvSpPr>
          <p:cNvPr id="155" name="object 155"/>
          <p:cNvSpPr txBox="1"/>
          <p:nvPr/>
        </p:nvSpPr>
        <p:spPr>
          <a:xfrm>
            <a:off x="3990721" y="4137263"/>
            <a:ext cx="949579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ПРОИЗВОДСТВО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156" name="object 156"/>
          <p:cNvSpPr txBox="1"/>
          <p:nvPr/>
        </p:nvSpPr>
        <p:spPr>
          <a:xfrm>
            <a:off x="5674258" y="4111076"/>
            <a:ext cx="637642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КЛАСТЕРЫ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175" name="object 175"/>
          <p:cNvSpPr txBox="1"/>
          <p:nvPr/>
        </p:nvSpPr>
        <p:spPr>
          <a:xfrm>
            <a:off x="1951227" y="6277551"/>
            <a:ext cx="2774950" cy="3905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ts val="3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850" b="1" i="0" u="none" strike="noStrike" kern="1200" cap="none" spc="0" normalizeH="0" baseline="0" noProof="0" dirty="0">
                <a:ln>
                  <a:noFill/>
                </a:ln>
                <a:solidFill>
                  <a:srgbClr val="61C596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ЭКОСИСТЕМА</a:t>
            </a:r>
            <a:endParaRPr kumimoji="0" sz="28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Pro"/>
              <a:ea typeface="+mn-ea"/>
              <a:cs typeface="Gotham Pro"/>
            </a:endParaRPr>
          </a:p>
        </p:txBody>
      </p:sp>
      <p:sp>
        <p:nvSpPr>
          <p:cNvPr id="176" name="object 176"/>
          <p:cNvSpPr txBox="1"/>
          <p:nvPr/>
        </p:nvSpPr>
        <p:spPr>
          <a:xfrm>
            <a:off x="1675878" y="5642985"/>
            <a:ext cx="3981209" cy="4154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5110" marR="5080" lvl="0" indent="-23304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3EC592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Разработка модели кадрового обеспечения сборки инжиниринговых команд Разработка и реализация программы учебных модулей и тренингов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Myriad Pro"/>
            </a:endParaRPr>
          </a:p>
        </p:txBody>
      </p:sp>
      <p:sp>
        <p:nvSpPr>
          <p:cNvPr id="277" name="object 277"/>
          <p:cNvSpPr txBox="1"/>
          <p:nvPr/>
        </p:nvSpPr>
        <p:spPr>
          <a:xfrm>
            <a:off x="7560564" y="4916366"/>
            <a:ext cx="2256536" cy="164916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172085" lvl="0" indent="0" algn="l" defTabSz="914400" rtl="0" eaLnBrk="1" fontAlgn="auto" latinLnBrk="0" hangingPunct="1">
              <a:lnSpc>
                <a:spcPts val="79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лгоритм применения прикладных технологий НСК при решении актуальных бизнес-задач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3970" marR="5080" lvl="0" indent="0" algn="l" defTabSz="914400" rtl="0" eaLnBrk="1" fontAlgn="auto" latinLnBrk="0" hangingPunct="1">
              <a:lnSpc>
                <a:spcPts val="81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Формирование исследовательских и экспертных компетенций у участников проекта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2700" marR="5080" lvl="0" indent="1270" algn="l" defTabSz="914400" rtl="0" eaLnBrk="1" fontAlgn="auto" latinLnBrk="0" hangingPunct="1">
              <a:lnSpc>
                <a:spcPts val="860"/>
              </a:lnSpc>
              <a:spcBef>
                <a:spcPts val="40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интез технологических, образовател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ьных и управленческих решений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5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Синергия основных участников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  <a:p>
            <a:pPr marL="12700" marR="285750" lvl="0" indent="0" algn="l" defTabSz="914400" rtl="0" eaLnBrk="1" fontAlgn="auto" latinLnBrk="0" hangingPunct="1">
              <a:lnSpc>
                <a:spcPts val="790"/>
              </a:lnSpc>
              <a:spcBef>
                <a:spcPts val="59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Формирование сквозного процесса кадрового обеспечения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278" name="object 278"/>
          <p:cNvSpPr txBox="1"/>
          <p:nvPr/>
        </p:nvSpPr>
        <p:spPr>
          <a:xfrm>
            <a:off x="4652213" y="4726338"/>
            <a:ext cx="516687" cy="20518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11430" lvl="0" indent="0" algn="ctr" defTabSz="914400" rtl="0" eaLnBrk="1" fontAlgn="auto" latinLnBrk="0" hangingPunct="1">
              <a:lnSpc>
                <a:spcPts val="83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ООО</a:t>
            </a:r>
            <a:endParaRPr kumimoji="0" sz="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  <a:p>
            <a:pPr marL="0" marR="0" lvl="0" indent="0" algn="ctr" defTabSz="914400" rtl="0" eaLnBrk="1" fontAlgn="auto" latinLnBrk="0" hangingPunct="1">
              <a:lnSpc>
                <a:spcPts val="83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«ВИРИАЛ»</a:t>
            </a:r>
            <a:endParaRPr kumimoji="0" sz="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279" name="object 279"/>
          <p:cNvSpPr txBox="1"/>
          <p:nvPr/>
        </p:nvSpPr>
        <p:spPr>
          <a:xfrm>
            <a:off x="3729900" y="4726338"/>
            <a:ext cx="645999" cy="20518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83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ПАО</a:t>
            </a:r>
            <a:endParaRPr kumimoji="0" sz="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  <a:p>
            <a:pPr marL="0" marR="0" lvl="0" indent="0" algn="ctr" defTabSz="914400" rtl="0" eaLnBrk="1" fontAlgn="auto" latinLnBrk="0" hangingPunct="1">
              <a:lnSpc>
                <a:spcPts val="83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«СВЕТЛАНА»</a:t>
            </a:r>
            <a:endParaRPr kumimoji="0" sz="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280" name="object 280"/>
          <p:cNvSpPr txBox="1"/>
          <p:nvPr/>
        </p:nvSpPr>
        <p:spPr>
          <a:xfrm>
            <a:off x="5657088" y="4726338"/>
            <a:ext cx="710982" cy="20518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5095" marR="5080" lvl="0" indent="-113030" algn="l" defTabSz="914400" rtl="0" eaLnBrk="1" fontAlgn="auto" latinLnBrk="0" hangingPunct="1">
              <a:lnSpc>
                <a:spcPts val="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ПОЛИМЕРНЫЙ КЛАСТЕР</a:t>
            </a:r>
            <a:endParaRPr kumimoji="0" sz="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281" name="object 281"/>
          <p:cNvSpPr txBox="1"/>
          <p:nvPr/>
        </p:nvSpPr>
        <p:spPr>
          <a:xfrm>
            <a:off x="1674215" y="4776031"/>
            <a:ext cx="390788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СПбГТИ</a:t>
            </a:r>
            <a:endParaRPr kumimoji="0" sz="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282" name="object 282"/>
          <p:cNvSpPr txBox="1"/>
          <p:nvPr/>
        </p:nvSpPr>
        <p:spPr>
          <a:xfrm>
            <a:off x="887793" y="5279218"/>
            <a:ext cx="379667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СПбГЭУ</a:t>
            </a:r>
            <a:endParaRPr kumimoji="0" sz="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283" name="object 283"/>
          <p:cNvSpPr txBox="1"/>
          <p:nvPr/>
        </p:nvSpPr>
        <p:spPr>
          <a:xfrm>
            <a:off x="840003" y="4726338"/>
            <a:ext cx="452944" cy="20518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ts val="83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СПбГЭТУ</a:t>
            </a:r>
            <a:endParaRPr kumimoji="0" sz="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  <a:p>
            <a:pPr marL="38100" marR="0" lvl="0" indent="0" algn="l" defTabSz="914400" rtl="0" eaLnBrk="1" fontAlgn="auto" latinLnBrk="0" hangingPunct="1">
              <a:lnSpc>
                <a:spcPts val="83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«ЛЭТИ»</a:t>
            </a:r>
            <a:endParaRPr kumimoji="0" sz="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284" name="object 284"/>
          <p:cNvSpPr txBox="1"/>
          <p:nvPr/>
        </p:nvSpPr>
        <p:spPr>
          <a:xfrm>
            <a:off x="1657464" y="5279218"/>
            <a:ext cx="325361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СПбГУ</a:t>
            </a:r>
            <a:endParaRPr kumimoji="0" sz="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285" name="object 285"/>
          <p:cNvSpPr txBox="1"/>
          <p:nvPr/>
        </p:nvSpPr>
        <p:spPr>
          <a:xfrm>
            <a:off x="6930046" y="3456503"/>
            <a:ext cx="611505" cy="3244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-635" algn="ctr" defTabSz="914400" rtl="0" eaLnBrk="1" fontAlgn="auto" latinLnBrk="0" hangingPunct="1">
              <a:lnSpc>
                <a:spcPts val="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600" b="0" i="0" u="none" strike="noStrike" kern="1200" cap="none" spc="0" normalizeH="0" baseline="0" noProof="0" dirty="0">
                <a:ln>
                  <a:noFill/>
                </a:ln>
                <a:solidFill>
                  <a:srgbClr val="8AA0B8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Заказ на инженеров и инжиниринговые команды</a:t>
            </a:r>
            <a:endParaRPr kumimoji="0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Myriad Pro"/>
            </a:endParaRPr>
          </a:p>
        </p:txBody>
      </p:sp>
      <p:sp>
        <p:nvSpPr>
          <p:cNvPr id="286" name="object 286"/>
          <p:cNvSpPr txBox="1"/>
          <p:nvPr/>
        </p:nvSpPr>
        <p:spPr>
          <a:xfrm>
            <a:off x="5236208" y="2934647"/>
            <a:ext cx="1693837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600" b="0" i="0" u="none" strike="noStrike" kern="1200" cap="none" spc="0" normalizeH="0" baseline="0" noProof="0" dirty="0">
                <a:ln>
                  <a:noFill/>
                </a:ln>
                <a:solidFill>
                  <a:srgbClr val="8AA0B8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Создание продуктов и   услуг НСК для индустрии</a:t>
            </a:r>
            <a:endParaRPr kumimoji="0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Myriad Pro"/>
            </a:endParaRPr>
          </a:p>
        </p:txBody>
      </p:sp>
      <p:sp>
        <p:nvSpPr>
          <p:cNvPr id="287" name="object 287"/>
          <p:cNvSpPr txBox="1"/>
          <p:nvPr/>
        </p:nvSpPr>
        <p:spPr>
          <a:xfrm>
            <a:off x="4375899" y="3453988"/>
            <a:ext cx="476884" cy="101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600" b="0" i="0" u="none" strike="noStrike" kern="1200" cap="none" spc="0" normalizeH="0" baseline="0" noProof="0" dirty="0">
                <a:ln>
                  <a:noFill/>
                </a:ln>
                <a:solidFill>
                  <a:srgbClr val="8AA0B8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Координация</a:t>
            </a:r>
            <a:endParaRPr kumimoji="0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Myriad Pro"/>
            </a:endParaRPr>
          </a:p>
        </p:txBody>
      </p:sp>
      <p:sp>
        <p:nvSpPr>
          <p:cNvPr id="288" name="object 288"/>
          <p:cNvSpPr txBox="1"/>
          <p:nvPr/>
        </p:nvSpPr>
        <p:spPr>
          <a:xfrm>
            <a:off x="3198939" y="1979681"/>
            <a:ext cx="587742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ФИОП</a:t>
            </a: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Myriad Pro"/>
            </a:endParaRPr>
          </a:p>
        </p:txBody>
      </p:sp>
      <p:sp>
        <p:nvSpPr>
          <p:cNvPr id="289" name="object 289"/>
          <p:cNvSpPr txBox="1"/>
          <p:nvPr/>
        </p:nvSpPr>
        <p:spPr>
          <a:xfrm>
            <a:off x="8498724" y="1980292"/>
            <a:ext cx="587743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НАРК</a:t>
            </a: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Myriad Pro"/>
            </a:endParaRPr>
          </a:p>
        </p:txBody>
      </p:sp>
      <p:sp>
        <p:nvSpPr>
          <p:cNvPr id="306" name="object 306"/>
          <p:cNvSpPr txBox="1"/>
          <p:nvPr/>
        </p:nvSpPr>
        <p:spPr>
          <a:xfrm>
            <a:off x="2773627" y="4137263"/>
            <a:ext cx="247650" cy="1206500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403225" marR="5080" lvl="0" indent="-391160" algn="l" defTabSz="914400" rtl="0" eaLnBrk="1" fontAlgn="auto" latinLnBrk="0" hangingPunct="1">
              <a:lnSpc>
                <a:spcPts val="9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МНОГОФУНКЦИОНАЛЬНЫЙ ЦОК «КП»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309" name="Прямоугольник 308"/>
          <p:cNvSpPr/>
          <p:nvPr/>
        </p:nvSpPr>
        <p:spPr>
          <a:xfrm>
            <a:off x="1521930" y="1139954"/>
            <a:ext cx="20970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МИНПРОМТОРГ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0" name="Прямоугольник 309"/>
          <p:cNvSpPr/>
          <p:nvPr/>
        </p:nvSpPr>
        <p:spPr>
          <a:xfrm>
            <a:off x="8704628" y="1139954"/>
            <a:ext cx="13885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Pro"/>
                <a:ea typeface="+mn-ea"/>
                <a:cs typeface="Gotham Pro"/>
              </a:rPr>
              <a:t>МИНТРУД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bject 77"/>
          <p:cNvSpPr txBox="1">
            <a:spLocks noGrp="1"/>
          </p:cNvSpPr>
          <p:nvPr>
            <p:ph type="title"/>
          </p:nvPr>
        </p:nvSpPr>
        <p:spPr>
          <a:xfrm>
            <a:off x="1813609" y="256597"/>
            <a:ext cx="8539381" cy="417219"/>
          </a:xfrm>
          <a:prstGeom prst="rect">
            <a:avLst/>
          </a:prstGeom>
        </p:spPr>
        <p:txBody>
          <a:bodyPr vert="horz" wrap="square" lIns="0" tIns="44884" rIns="0" bIns="0" rtlCol="0">
            <a:spAutoFit/>
          </a:bodyPr>
          <a:lstStyle/>
          <a:p>
            <a:pPr marL="951230">
              <a:lnSpc>
                <a:spcPts val="2875"/>
              </a:lnSpc>
            </a:pPr>
            <a:r>
              <a:rPr lang="ru-RU" sz="2500" kern="1200" dirty="0">
                <a:solidFill>
                  <a:schemeClr val="tx1"/>
                </a:solidFill>
                <a:latin typeface="+mn-lt"/>
                <a:cs typeface="+mj-cs"/>
              </a:rPr>
              <a:t>ТЕХНОЛОГИЧЕСКИЕ РЕШЕНИЯ. КЕЙСЫ</a:t>
            </a:r>
            <a:endParaRPr sz="2500" kern="1200" dirty="0">
              <a:solidFill>
                <a:schemeClr val="tx1"/>
              </a:solidFill>
              <a:latin typeface="+mn-lt"/>
              <a:cs typeface="+mj-cs"/>
            </a:endParaRPr>
          </a:p>
        </p:txBody>
      </p:sp>
      <p:sp>
        <p:nvSpPr>
          <p:cNvPr id="88" name="object 88"/>
          <p:cNvSpPr txBox="1"/>
          <p:nvPr/>
        </p:nvSpPr>
        <p:spPr>
          <a:xfrm>
            <a:off x="4602518" y="1201350"/>
            <a:ext cx="3380743" cy="59888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51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2 КЕЙС</a:t>
            </a:r>
            <a:endParaRPr kumimoji="0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Myriad Pro"/>
            </a:endParaRPr>
          </a:p>
          <a:p>
            <a:pPr marL="12700" marR="5080" lvl="0" indent="0" algn="ctr" defTabSz="914400" rtl="0" eaLnBrk="1" fontAlgn="auto" latinLnBrk="0" hangingPunct="1">
              <a:lnSpc>
                <a:spcPct val="75200"/>
              </a:lnSpc>
              <a:spcBef>
                <a:spcPts val="1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«</a:t>
            </a:r>
            <a:r>
              <a:rPr kumimoji="0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Освоение серийного производства высоковольтных транзисторов для жестких условий эксплуатации»</a:t>
            </a:r>
            <a:endParaRPr kumimoji="0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Myriad Pro"/>
            </a:endParaRPr>
          </a:p>
        </p:txBody>
      </p:sp>
      <p:sp>
        <p:nvSpPr>
          <p:cNvPr id="89" name="object 89"/>
          <p:cNvSpPr txBox="1"/>
          <p:nvPr/>
        </p:nvSpPr>
        <p:spPr>
          <a:xfrm>
            <a:off x="8342286" y="1197871"/>
            <a:ext cx="3379814" cy="6012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5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3 КЕЙС</a:t>
            </a:r>
            <a:endParaRPr kumimoji="0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Myriad Pro"/>
            </a:endParaRPr>
          </a:p>
          <a:p>
            <a:pPr marL="12700" marR="5080" lvl="0" indent="496570" algn="l" defTabSz="914400" rtl="0" eaLnBrk="1" fontAlgn="auto" latinLnBrk="0" hangingPunct="1">
              <a:lnSpc>
                <a:spcPct val="78300"/>
              </a:lnSpc>
              <a:spcBef>
                <a:spcPts val="13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1" i="0" u="none" strike="noStrike" kern="1200" cap="none" spc="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«Разработка</a:t>
            </a:r>
            <a:r>
              <a:rPr kumimoji="0" sz="1100" b="1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 </a:t>
            </a:r>
            <a:r>
              <a:rPr kumimoji="0" sz="1100" b="1" i="0" u="none" strike="noStrike" kern="1200" cap="none" spc="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новых</a:t>
            </a:r>
            <a:r>
              <a:rPr kumimoji="0" sz="1100" b="1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 </a:t>
            </a:r>
            <a:r>
              <a:rPr kumimoji="0" sz="1100" b="1" i="0" u="none" strike="noStrike" kern="1200" cap="none" spc="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материалов</a:t>
            </a:r>
            <a:r>
              <a:rPr kumimoji="0" sz="1100" b="1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 </a:t>
            </a:r>
            <a:r>
              <a:rPr kumimoji="0" sz="1100" b="1" i="0" u="none" strike="noStrike" kern="1200" cap="none" spc="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с</a:t>
            </a:r>
            <a:r>
              <a:rPr kumimoji="0" sz="1100" b="1" i="0" u="none" strike="noStrike" kern="1200" cap="none" spc="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 повышенными</a:t>
            </a:r>
            <a:r>
              <a:rPr kumimoji="0" sz="1100" b="1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 </a:t>
            </a:r>
            <a:r>
              <a:rPr kumimoji="0" sz="1100" b="1" i="0" u="none" strike="noStrike" kern="1200" cap="none" spc="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эксплуатационными</a:t>
            </a:r>
            <a:r>
              <a:rPr kumimoji="0" sz="1100" b="1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 </a:t>
            </a:r>
            <a:r>
              <a:rPr kumimoji="0" sz="1100" b="1" i="0" u="none" strike="noStrike" kern="1200" cap="none" spc="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свойствами</a:t>
            </a:r>
            <a:r>
              <a:rPr kumimoji="0" sz="1100" b="0" i="0" u="none" strike="noStrike" kern="1200" cap="none" spc="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»</a:t>
            </a:r>
            <a:endParaRPr kumimoji="0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Myriad Pro"/>
            </a:endParaRPr>
          </a:p>
        </p:txBody>
      </p:sp>
      <p:sp>
        <p:nvSpPr>
          <p:cNvPr id="90" name="object 90"/>
          <p:cNvSpPr txBox="1"/>
          <p:nvPr/>
        </p:nvSpPr>
        <p:spPr>
          <a:xfrm>
            <a:off x="878471" y="1886763"/>
            <a:ext cx="3528429" cy="11963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2225" marR="5080" lvl="0" indent="0" algn="l" defTabSz="914400" rtl="0" eaLnBrk="1" fontAlgn="auto" latinLnBrk="0" hangingPunct="1">
              <a:lnSpc>
                <a:spcPts val="96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Разработка вторичных полимерных  материалов для производства технических полимерных емкостей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  <a:p>
            <a:pPr marL="12700" marR="236220" lvl="0" indent="9525" algn="l" defTabSz="914400" rtl="0" eaLnBrk="1" fontAlgn="auto" latinLnBrk="0" hangingPunct="1">
              <a:lnSpc>
                <a:spcPts val="869"/>
              </a:lnSpc>
              <a:spcBef>
                <a:spcPts val="68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Расширение рынка сбыта изделий из вторсырья (вывод на глобальный рынок) + коммерциализация существующей идеи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  <a:p>
            <a:pPr marL="12700" marR="817880" lvl="0" indent="0" algn="l" defTabSz="914400" rtl="0" eaLnBrk="1" fontAlgn="auto" latinLnBrk="0" hangingPunct="1">
              <a:lnSpc>
                <a:spcPts val="1050"/>
              </a:lnSpc>
              <a:spcBef>
                <a:spcPts val="7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Восполнение кадрового дефицита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151616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  <a:p>
            <a:pPr marL="12700" marR="817880" lvl="0" indent="0" algn="l" defTabSz="914400" rtl="0" eaLnBrk="1" fontAlgn="auto" latinLnBrk="0" hangingPunct="1">
              <a:lnSpc>
                <a:spcPts val="1050"/>
              </a:lnSpc>
              <a:spcBef>
                <a:spcPts val="7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 Обеспечение полного жизненного цикла изделия Коммерциализация продукта из вторсырья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91" name="object 91"/>
          <p:cNvSpPr txBox="1"/>
          <p:nvPr/>
        </p:nvSpPr>
        <p:spPr>
          <a:xfrm>
            <a:off x="4930304" y="2011964"/>
            <a:ext cx="2600795" cy="4283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Разработка</a:t>
            </a:r>
            <a:r>
              <a:rPr kumimoji="0" sz="1200" b="0" i="0" u="none" strike="noStrike" kern="1200" cap="none" spc="-5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 </a:t>
            </a: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JBS-ДИОДА НА </a:t>
            </a:r>
            <a:r>
              <a:rPr kumimoji="0" sz="1200" b="0" i="0" u="none" strike="noStrike" kern="1200" cap="none" spc="-5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4</a:t>
            </a: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H-SIC</a:t>
            </a: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  <a:p>
            <a:pPr marL="31115" marR="0" lvl="0" indent="0" algn="l" defTabSz="914400" rtl="0" eaLnBrk="1" fontAlgn="auto" latinLnBrk="0" hangingPunct="1">
              <a:lnSpc>
                <a:spcPct val="100000"/>
              </a:lnSpc>
              <a:spcBef>
                <a:spcPts val="69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Трансферт технологий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92" name="object 92"/>
          <p:cNvSpPr txBox="1"/>
          <p:nvPr/>
        </p:nvSpPr>
        <p:spPr>
          <a:xfrm>
            <a:off x="4955500" y="2518959"/>
            <a:ext cx="2651799" cy="48474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Создание эскизов прибора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151616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  <a:p>
            <a:pPr marL="12700" marR="5080" lvl="0" indent="0" algn="l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 Разработка технологии зготовления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151616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  <a:p>
            <a:pPr marL="12700" marR="5080" lvl="0" indent="0" algn="l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Топология прибора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93" name="object 93"/>
          <p:cNvSpPr txBox="1"/>
          <p:nvPr/>
        </p:nvSpPr>
        <p:spPr>
          <a:xfrm>
            <a:off x="8368308" y="1956134"/>
            <a:ext cx="3526307" cy="12034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257810" lvl="0" indent="0" algn="l" defTabSz="914400" rtl="0" eaLnBrk="1" fontAlgn="auto" latinLnBrk="0" hangingPunct="1">
              <a:lnSpc>
                <a:spcPct val="79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Разработка</a:t>
            </a: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 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наноструктурированных</a:t>
            </a: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 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металлокерамических сверхтвердых</a:t>
            </a: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 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материалов</a:t>
            </a: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 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для</a:t>
            </a: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 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экстремальной</a:t>
            </a: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 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эксплуатации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  <a:p>
            <a:pPr marL="12700" marR="257810" lvl="0" indent="0" algn="l" defTabSz="914400" rtl="0" eaLnBrk="1" fontAlgn="auto" latinLnBrk="0" hangingPunct="1">
              <a:lnSpc>
                <a:spcPts val="900"/>
              </a:lnSpc>
              <a:spcBef>
                <a:spcPts val="7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Совершенствование</a:t>
            </a: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 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существующей</a:t>
            </a: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 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технологии</a:t>
            </a: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 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изготовления подшипников</a:t>
            </a: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 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для</a:t>
            </a: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 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работы</a:t>
            </a: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 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в</a:t>
            </a: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 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экстремальных</a:t>
            </a: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 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условиях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  <a:p>
            <a:pPr marL="13335" marR="5080" lvl="0" indent="0" algn="l" defTabSz="914400" rtl="0" eaLnBrk="1" fontAlgn="auto" latinLnBrk="0" hangingPunct="1">
              <a:lnSpc>
                <a:spcPts val="869"/>
              </a:lnSpc>
              <a:spcBef>
                <a:spcPts val="76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-35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Создание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 </a:t>
            </a:r>
            <a:r>
              <a:rPr kumimoji="0" sz="900" b="0" i="0" u="none" strike="noStrike" kern="1200" cap="none" spc="-35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материала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 </a:t>
            </a:r>
            <a:r>
              <a:rPr kumimoji="0" sz="900" b="0" i="0" u="none" strike="noStrike" kern="1200" cap="none" spc="-35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на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 </a:t>
            </a:r>
            <a:r>
              <a:rPr kumimoji="0" sz="900" b="0" i="0" u="none" strike="noStrike" kern="1200" cap="none" spc="-35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основе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 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кубического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 </a:t>
            </a:r>
            <a:r>
              <a:rPr kumimoji="0" sz="900" b="0" i="0" u="none" strike="noStrike" kern="1200" cap="none" spc="-35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нитрида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 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бора,</a:t>
            </a:r>
            <a:r>
              <a:rPr kumimoji="0" sz="900" b="0" i="0" u="none" strike="noStrike" kern="1200" cap="none" spc="-35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 содержащего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 </a:t>
            </a:r>
            <a:r>
              <a:rPr kumimoji="0" sz="900" b="0" i="0" u="none" strike="noStrike" kern="1200" cap="none" spc="-35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наноструктурированную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 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 </a:t>
            </a:r>
            <a:r>
              <a:rPr kumimoji="0" sz="900" b="0" i="0" u="none" strike="noStrike" kern="1200" cap="none" spc="-35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металлокерамическую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 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 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связку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  <a:p>
            <a:pPr marL="21590" marR="662305" lvl="0" indent="4445" algn="l" defTabSz="914400" rtl="0" eaLnBrk="1" fontAlgn="auto" latinLnBrk="0" hangingPunct="1">
              <a:lnSpc>
                <a:spcPts val="96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Разработка технологии изготовления подшипников Технико-экономическая оценка проекта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94" name="object 94"/>
          <p:cNvSpPr txBox="1"/>
          <p:nvPr/>
        </p:nvSpPr>
        <p:spPr>
          <a:xfrm>
            <a:off x="1856028" y="3343258"/>
            <a:ext cx="1625194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1" i="0" u="none" strike="noStrike" kern="1200" cap="none" spc="0" normalizeH="0" baseline="0" noProof="0" dirty="0">
                <a:ln>
                  <a:noFill/>
                </a:ln>
                <a:solidFill>
                  <a:srgbClr val="3EC592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РУКОВОДИТЕЛЬ КОМАНДЫ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Myriad Pro"/>
            </a:endParaRPr>
          </a:p>
        </p:txBody>
      </p:sp>
      <p:sp>
        <p:nvSpPr>
          <p:cNvPr id="95" name="object 95"/>
          <p:cNvSpPr txBox="1"/>
          <p:nvPr/>
        </p:nvSpPr>
        <p:spPr>
          <a:xfrm>
            <a:off x="682736" y="3481757"/>
            <a:ext cx="1695935" cy="9669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3815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700" b="1" i="0" u="none" strike="noStrike" kern="1200" cap="none" spc="0" normalizeH="0" baseline="0" noProof="0" dirty="0">
                <a:ln>
                  <a:noFill/>
                </a:ln>
                <a:solidFill>
                  <a:srgbClr val="3EC592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УПРАВЛЕНЧЕСКИЙ ОТДЕЛ</a:t>
            </a:r>
            <a:endParaRPr kumimoji="0" sz="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Myriad Pro"/>
            </a:endParaRPr>
          </a:p>
          <a:p>
            <a:pPr marL="12700" marR="27940" lvl="0" indent="0" algn="l" defTabSz="914400" rtl="0" eaLnBrk="1" fontAlgn="auto" latinLnBrk="0" hangingPunct="1">
              <a:lnSpc>
                <a:spcPts val="919"/>
              </a:lnSpc>
              <a:spcBef>
                <a:spcPts val="3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Планово-экономическая, маркетинговая деятельность Юридическое сопровождение процессов производства Обеспечение производства материалами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  <a:p>
            <a:pPr marL="12700" marR="0" lvl="0" indent="0" algn="l" defTabSz="914400" rtl="0" eaLnBrk="1" fontAlgn="auto" latinLnBrk="0" hangingPunct="1">
              <a:lnSpc>
                <a:spcPts val="89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Изготов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ление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 и контроль качества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96" name="object 96"/>
          <p:cNvSpPr txBox="1"/>
          <p:nvPr/>
        </p:nvSpPr>
        <p:spPr>
          <a:xfrm>
            <a:off x="2378671" y="3518896"/>
            <a:ext cx="1927834" cy="101822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9177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700" b="1" i="0" u="none" strike="noStrike" kern="1200" cap="none" spc="0" normalizeH="0" baseline="0" noProof="0" dirty="0">
                <a:ln>
                  <a:noFill/>
                </a:ln>
                <a:solidFill>
                  <a:srgbClr val="3EC592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ТЕХНИЧЕСКИЙ ОТДЕЛ</a:t>
            </a:r>
            <a:endParaRPr kumimoji="0" sz="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Myriad Pro"/>
            </a:endParaRPr>
          </a:p>
          <a:p>
            <a:pPr marL="12700" marR="5080" lvl="0" indent="0" algn="l" defTabSz="914400" rtl="0" eaLnBrk="1" fontAlgn="auto" latinLnBrk="0" hangingPunct="1">
              <a:lnSpc>
                <a:spcPts val="910"/>
              </a:lnSpc>
              <a:spcBef>
                <a:spcPts val="3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Разработка и применение материалов Разработка технологических регламентов и бизнес-процессов Обеспечение полного цикла произ-ва Проектирование изделий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151616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  <a:p>
            <a:pPr marL="12700" marR="5080" lvl="0" indent="0" algn="l" defTabSz="914400" rtl="0" eaLnBrk="1" fontAlgn="auto" latinLnBrk="0" hangingPunct="1">
              <a:lnSpc>
                <a:spcPts val="910"/>
              </a:lnSpc>
              <a:spcBef>
                <a:spcPts val="3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Эксплуатация оборудования Изготовление и контроль качества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97" name="object 97"/>
          <p:cNvSpPr txBox="1"/>
          <p:nvPr/>
        </p:nvSpPr>
        <p:spPr>
          <a:xfrm>
            <a:off x="5026431" y="3226255"/>
            <a:ext cx="2346020" cy="94025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569595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1" i="0" u="none" strike="noStrike" kern="1200" cap="none" spc="0" normalizeH="0" baseline="0" noProof="0" dirty="0">
                <a:ln>
                  <a:noFill/>
                </a:ln>
                <a:solidFill>
                  <a:srgbClr val="39C7D6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РУКОВОДИТЕЛЬ КОМАНДЫ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Myriad Pro"/>
            </a:endParaRPr>
          </a:p>
          <a:p>
            <a:pPr marL="0" marR="612775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700" b="1" i="0" u="none" strike="noStrike" kern="1200" cap="none" spc="0" normalizeH="0" baseline="0" noProof="0" dirty="0">
                <a:ln>
                  <a:noFill/>
                </a:ln>
                <a:solidFill>
                  <a:srgbClr val="39C7D6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ТЕХНИЧЕСКИЙ ОТДЕЛ</a:t>
            </a:r>
            <a:endParaRPr kumimoji="0" sz="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Myriad Pro"/>
            </a:endParaRPr>
          </a:p>
          <a:p>
            <a:pPr marL="106680" marR="5080" lvl="0" indent="0" algn="l" defTabSz="914400" rtl="0" eaLnBrk="1" fontAlgn="auto" latinLnBrk="0" hangingPunct="1">
              <a:lnSpc>
                <a:spcPct val="130300"/>
              </a:lnSpc>
              <a:spcBef>
                <a:spcPts val="19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Расчет технических параметров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151616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  <a:p>
            <a:pPr marL="106680" marR="5080" lvl="0" indent="0" algn="l" defTabSz="914400" rtl="0" eaLnBrk="1" fontAlgn="auto" latinLnBrk="0" hangingPunct="1">
              <a:lnSpc>
                <a:spcPct val="130300"/>
              </a:lnSpc>
              <a:spcBef>
                <a:spcPts val="19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Моделирование продукта в программах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151616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  <a:p>
            <a:pPr marL="106680" marR="5080" lvl="0" indent="0" algn="l" defTabSz="914400" rtl="0" eaLnBrk="1" fontAlgn="auto" latinLnBrk="0" hangingPunct="1">
              <a:lnSpc>
                <a:spcPct val="130300"/>
              </a:lnSpc>
              <a:spcBef>
                <a:spcPts val="19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;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98" name="object 98"/>
          <p:cNvSpPr txBox="1"/>
          <p:nvPr/>
        </p:nvSpPr>
        <p:spPr>
          <a:xfrm>
            <a:off x="5086384" y="3967533"/>
            <a:ext cx="2926084" cy="3412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ct val="130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Разработка маршрутной карты изготовления продукта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151616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  <a:p>
            <a:pPr marL="12700" marR="5080" lvl="0" indent="0" algn="l" defTabSz="914400" rtl="0" eaLnBrk="1" fontAlgn="auto" latinLnBrk="0" hangingPunct="1">
              <a:lnSpc>
                <a:spcPct val="130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Подготовка конструкторской документации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101" name="object 101"/>
          <p:cNvSpPr txBox="1"/>
          <p:nvPr/>
        </p:nvSpPr>
        <p:spPr>
          <a:xfrm>
            <a:off x="782104" y="5884804"/>
            <a:ext cx="4539196" cy="6412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ts val="101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Основы командообразования, целеполагание как базовый элемент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.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 Эффективная коммуникация и навык публичных выступлений Базовые командные роли и эффективные способы разрешения конфликтных ситуаций Психологические аспекты благополучия личности в организации Роль групповых эффектов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  <a:p>
            <a:pPr marL="1270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Техники сохранения психологического здоровья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102" name="object 102"/>
          <p:cNvSpPr txBox="1"/>
          <p:nvPr/>
        </p:nvSpPr>
        <p:spPr>
          <a:xfrm>
            <a:off x="6516014" y="5916986"/>
            <a:ext cx="4339590" cy="5461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ts val="107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Инновационно-активные предприятия. Понятие, сущность, инвестиционная деятельность. Эффективная коммуникация и навык публичных выступлений Обоснование рыночных возможностей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  <a:p>
            <a:pPr marL="12700" marR="0" lvl="0" indent="0" algn="l" defTabSz="914400" rtl="0" eaLnBrk="1" fontAlgn="auto" latinLnBrk="0" hangingPunct="1">
              <a:lnSpc>
                <a:spcPts val="103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Управление проектами: технологический аудит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103" name="object 103"/>
          <p:cNvSpPr txBox="1"/>
          <p:nvPr/>
        </p:nvSpPr>
        <p:spPr>
          <a:xfrm>
            <a:off x="5591390" y="4634107"/>
            <a:ext cx="1634910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1200" cap="none" spc="0" normalizeH="0" baseline="0" noProof="0" dirty="0">
                <a:ln>
                  <a:noFill/>
                </a:ln>
                <a:solidFill>
                  <a:srgbClr val="39C7D6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JB</a:t>
            </a:r>
            <a:r>
              <a:rPr kumimoji="0" sz="1000" b="1" i="0" u="none" strike="noStrike" kern="1200" cap="none" spc="10" normalizeH="0" baseline="0" noProof="0" dirty="0">
                <a:ln>
                  <a:noFill/>
                </a:ln>
                <a:solidFill>
                  <a:srgbClr val="39C7D6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S</a:t>
            </a:r>
            <a:r>
              <a:rPr kumimoji="0" sz="1000" b="1" i="0" u="none" strike="noStrike" kern="1200" cap="none" spc="0" normalizeH="0" baseline="0" noProof="0" dirty="0">
                <a:ln>
                  <a:noFill/>
                </a:ln>
                <a:solidFill>
                  <a:srgbClr val="39C7D6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-ДИОД НА </a:t>
            </a:r>
            <a:r>
              <a:rPr kumimoji="0" sz="1000" b="1" i="0" u="none" strike="noStrike" kern="1200" cap="none" spc="-5" normalizeH="0" baseline="0" noProof="0" dirty="0">
                <a:ln>
                  <a:noFill/>
                </a:ln>
                <a:solidFill>
                  <a:srgbClr val="39C7D6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4</a:t>
            </a:r>
            <a:r>
              <a:rPr kumimoji="0" sz="1000" b="1" i="0" u="none" strike="noStrike" kern="1200" cap="none" spc="0" normalizeH="0" baseline="0" noProof="0" dirty="0">
                <a:ln>
                  <a:noFill/>
                </a:ln>
                <a:solidFill>
                  <a:srgbClr val="39C7D6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H-SIC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Myriad Pro"/>
            </a:endParaRPr>
          </a:p>
        </p:txBody>
      </p:sp>
      <p:sp>
        <p:nvSpPr>
          <p:cNvPr id="104" name="object 104"/>
          <p:cNvSpPr txBox="1"/>
          <p:nvPr/>
        </p:nvSpPr>
        <p:spPr>
          <a:xfrm>
            <a:off x="167254" y="2145136"/>
            <a:ext cx="369332" cy="1872514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4ACA9F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ТЕХНОЛОГИЧЕСКИЙ БЛОК</a:t>
            </a: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Myriad Pro"/>
            </a:endParaRPr>
          </a:p>
        </p:txBody>
      </p:sp>
      <p:sp>
        <p:nvSpPr>
          <p:cNvPr id="105" name="object 105"/>
          <p:cNvSpPr txBox="1"/>
          <p:nvPr/>
        </p:nvSpPr>
        <p:spPr>
          <a:xfrm>
            <a:off x="169802" y="5495291"/>
            <a:ext cx="184666" cy="874138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C70C57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ТРЕНИНГИ</a:t>
            </a: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Myriad Pro"/>
            </a:endParaRPr>
          </a:p>
        </p:txBody>
      </p:sp>
      <p:sp>
        <p:nvSpPr>
          <p:cNvPr id="106" name="object 106"/>
          <p:cNvSpPr txBox="1"/>
          <p:nvPr/>
        </p:nvSpPr>
        <p:spPr>
          <a:xfrm>
            <a:off x="1512963" y="4634108"/>
            <a:ext cx="1903337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1200" cap="none" spc="0" normalizeH="0" baseline="0" noProof="0" dirty="0">
                <a:ln>
                  <a:noFill/>
                </a:ln>
                <a:solidFill>
                  <a:srgbClr val="43D1A1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ПОЛИМЕРНЫЕ ЕМКОСТИ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Myriad Pro"/>
            </a:endParaRPr>
          </a:p>
        </p:txBody>
      </p:sp>
      <p:sp>
        <p:nvSpPr>
          <p:cNvPr id="138" name="object 138"/>
          <p:cNvSpPr txBox="1"/>
          <p:nvPr/>
        </p:nvSpPr>
        <p:spPr>
          <a:xfrm>
            <a:off x="9268942" y="3273078"/>
            <a:ext cx="1485900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1" i="0" u="none" strike="noStrike" kern="1200" cap="none" spc="0" normalizeH="0" baseline="0" noProof="0" dirty="0">
                <a:ln>
                  <a:noFill/>
                </a:ln>
                <a:solidFill>
                  <a:srgbClr val="077BE8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РУКОВОДИТЕЛЬ КОМАНДЫ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Myriad Pro"/>
            </a:endParaRPr>
          </a:p>
        </p:txBody>
      </p:sp>
      <p:sp>
        <p:nvSpPr>
          <p:cNvPr id="139" name="object 139"/>
          <p:cNvSpPr txBox="1"/>
          <p:nvPr/>
        </p:nvSpPr>
        <p:spPr>
          <a:xfrm>
            <a:off x="8335314" y="3481757"/>
            <a:ext cx="1420660" cy="82586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5811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700" b="1" i="0" u="none" strike="noStrike" kern="1200" cap="none" spc="0" normalizeH="0" baseline="0" noProof="0" dirty="0">
                <a:ln>
                  <a:noFill/>
                </a:ln>
                <a:solidFill>
                  <a:srgbClr val="077BE8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УПРАВЛЕНЧЕСКИЙ ОТДЕЛ</a:t>
            </a:r>
            <a:endParaRPr kumimoji="0" sz="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Myriad Pro"/>
            </a:endParaRPr>
          </a:p>
          <a:p>
            <a:pPr marL="12700" marR="186690" lvl="0" indent="0" algn="l" defTabSz="914400" rtl="0" eaLnBrk="1" fontAlgn="auto" latinLnBrk="0" hangingPunct="1">
              <a:lnSpc>
                <a:spcPts val="830"/>
              </a:lnSpc>
              <a:spcBef>
                <a:spcPts val="42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Маркетинговое обоснование проекта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151616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  <a:p>
            <a:pPr marL="12700" marR="186690" lvl="0" indent="0" algn="l" defTabSz="914400" rtl="0" eaLnBrk="1" fontAlgn="auto" latinLnBrk="0" hangingPunct="1">
              <a:lnSpc>
                <a:spcPts val="830"/>
              </a:lnSpc>
              <a:spcBef>
                <a:spcPts val="42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Технико-экономическое сопровождение Информационное обеспечение проекта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140" name="object 140"/>
          <p:cNvSpPr txBox="1"/>
          <p:nvPr/>
        </p:nvSpPr>
        <p:spPr>
          <a:xfrm>
            <a:off x="9902124" y="3458974"/>
            <a:ext cx="2124776" cy="83869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5684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700" b="1" i="0" u="none" strike="noStrike" kern="1200" cap="none" spc="0" normalizeH="0" baseline="0" noProof="0" dirty="0">
                <a:ln>
                  <a:noFill/>
                </a:ln>
                <a:solidFill>
                  <a:srgbClr val="077BE8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ТЕХНИЧЕСКИЙ ОТДЕЛ</a:t>
            </a:r>
            <a:endParaRPr kumimoji="0" sz="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Myriad Pro"/>
            </a:endParaRPr>
          </a:p>
          <a:p>
            <a:pPr marL="12700" marR="5080" lvl="0" indent="0" algn="l" defTabSz="914400" rtl="0" eaLnBrk="1" fontAlgn="auto" latinLnBrk="0" hangingPunct="1">
              <a:lnSpc>
                <a:spcPts val="910"/>
              </a:lnSpc>
              <a:spcBef>
                <a:spcPts val="3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-15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Разработка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 </a:t>
            </a:r>
            <a:r>
              <a:rPr kumimoji="0" sz="800" b="0" i="0" u="none" strike="noStrike" kern="1200" cap="none" spc="-2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конструкции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 </a:t>
            </a:r>
            <a:r>
              <a:rPr kumimoji="0" sz="800" b="0" i="0" u="none" strike="noStrike" kern="1200" cap="none" spc="-2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изделия оформление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 </a:t>
            </a:r>
            <a:r>
              <a:rPr kumimoji="0" sz="800" b="0" i="0" u="none" strike="noStrike" kern="1200" cap="none" spc="-2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конструкционной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 </a:t>
            </a:r>
            <a:r>
              <a:rPr kumimoji="0" sz="800" b="0" i="0" u="none" strike="noStrike" kern="1200" cap="none" spc="-15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документации </a:t>
            </a:r>
            <a:endParaRPr kumimoji="0" lang="ru-RU" sz="800" b="0" i="0" u="none" strike="noStrike" kern="1200" cap="none" spc="-15" normalizeH="0" baseline="0" noProof="0" dirty="0">
              <a:ln>
                <a:noFill/>
              </a:ln>
              <a:solidFill>
                <a:srgbClr val="151616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  <a:p>
            <a:pPr marL="12700" marR="5080" lvl="0" indent="0" algn="l" defTabSz="914400" rtl="0" eaLnBrk="1" fontAlgn="auto" latinLnBrk="0" hangingPunct="1">
              <a:lnSpc>
                <a:spcPts val="910"/>
              </a:lnSpc>
              <a:spcBef>
                <a:spcPts val="3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-15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Технологические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 </a:t>
            </a:r>
            <a:r>
              <a:rPr kumimoji="0" sz="800" b="0" i="0" u="none" strike="noStrike" kern="1200" cap="none" spc="-15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разработки,</a:t>
            </a:r>
            <a:r>
              <a:rPr kumimoji="0" sz="800" b="0" i="0" u="none" strike="noStrike" kern="1200" cap="none" spc="-2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 оформление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 </a:t>
            </a:r>
            <a:r>
              <a:rPr kumimoji="0" sz="800" b="0" i="0" u="none" strike="noStrike" kern="1200" cap="none" spc="-2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технологической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 </a:t>
            </a:r>
            <a:r>
              <a:rPr kumimoji="0" sz="800" b="0" i="0" u="none" strike="noStrike" kern="1200" cap="none" spc="-15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документации</a:t>
            </a:r>
            <a:endParaRPr kumimoji="0" lang="ru-RU" sz="800" b="0" i="0" u="none" strike="noStrike" kern="1200" cap="none" spc="-15" normalizeH="0" baseline="0" noProof="0" dirty="0">
              <a:ln>
                <a:noFill/>
              </a:ln>
              <a:solidFill>
                <a:srgbClr val="151616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  <a:p>
            <a:pPr marL="12700" marR="5080" lvl="0" indent="0" algn="l" defTabSz="914400" rtl="0" eaLnBrk="1" fontAlgn="auto" latinLnBrk="0" hangingPunct="1">
              <a:lnSpc>
                <a:spcPts val="910"/>
              </a:lnSpc>
              <a:spcBef>
                <a:spcPts val="3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-15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 Контроль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 </a:t>
            </a:r>
            <a:r>
              <a:rPr kumimoji="0" sz="800" b="0" i="0" u="none" strike="noStrike" kern="1200" cap="none" spc="-15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качества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 </a:t>
            </a:r>
            <a:r>
              <a:rPr kumimoji="0" sz="800" b="0" i="0" u="none" strike="noStrike" kern="1200" cap="none" spc="-2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материалов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 </a:t>
            </a:r>
            <a:r>
              <a:rPr kumimoji="0" sz="800" b="0" i="0" u="none" strike="noStrike" kern="1200" cap="none" spc="-2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и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 </a:t>
            </a:r>
            <a:r>
              <a:rPr kumimoji="0" sz="800" b="0" i="0" u="none" strike="noStrike" kern="1200" cap="none" spc="-20" normalizeH="0" baseline="0" noProof="0" dirty="0">
                <a:ln>
                  <a:noFill/>
                </a:ln>
                <a:solidFill>
                  <a:srgbClr val="151616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продукции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141" name="object 141"/>
          <p:cNvSpPr txBox="1"/>
          <p:nvPr/>
        </p:nvSpPr>
        <p:spPr>
          <a:xfrm>
            <a:off x="8623668" y="4580161"/>
            <a:ext cx="3163570" cy="2819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ct val="1032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1" i="0" u="none" strike="noStrike" kern="1200" cap="none" spc="0" normalizeH="0" baseline="0" noProof="0" dirty="0">
                <a:ln>
                  <a:noFill/>
                </a:ln>
                <a:solidFill>
                  <a:srgbClr val="077BE8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ПОДШИПНИК ДЛЯ НАСОСОВ ПЕРЕКАЧКИ ПЛАСТОВОЙ ЖИДКОСТИ В УСЛОВИЯХ ЭКСТРЕМАЛЬНОЙ НЕФТЕДОБЫЧИ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Myriad Pro"/>
            </a:endParaRPr>
          </a:p>
        </p:txBody>
      </p:sp>
      <p:sp>
        <p:nvSpPr>
          <p:cNvPr id="147" name="object 147"/>
          <p:cNvSpPr/>
          <p:nvPr/>
        </p:nvSpPr>
        <p:spPr>
          <a:xfrm>
            <a:off x="788061" y="5495325"/>
            <a:ext cx="328295" cy="142875"/>
          </a:xfrm>
          <a:custGeom>
            <a:avLst/>
            <a:gdLst/>
            <a:ahLst/>
            <a:cxnLst/>
            <a:rect l="l" t="t" r="r" b="b"/>
            <a:pathLst>
              <a:path w="328294" h="142875">
                <a:moveTo>
                  <a:pt x="81483" y="52459"/>
                </a:moveTo>
                <a:lnTo>
                  <a:pt x="70442" y="52918"/>
                </a:lnTo>
                <a:lnTo>
                  <a:pt x="60853" y="58173"/>
                </a:lnTo>
                <a:lnTo>
                  <a:pt x="53021" y="70548"/>
                </a:lnTo>
                <a:lnTo>
                  <a:pt x="50945" y="81592"/>
                </a:lnTo>
                <a:lnTo>
                  <a:pt x="54204" y="91251"/>
                </a:lnTo>
                <a:lnTo>
                  <a:pt x="67638" y="102368"/>
                </a:lnTo>
                <a:lnTo>
                  <a:pt x="75602" y="106387"/>
                </a:lnTo>
                <a:lnTo>
                  <a:pt x="80276" y="98691"/>
                </a:lnTo>
                <a:lnTo>
                  <a:pt x="76441" y="97497"/>
                </a:lnTo>
                <a:lnTo>
                  <a:pt x="72656" y="95580"/>
                </a:lnTo>
                <a:lnTo>
                  <a:pt x="61861" y="87122"/>
                </a:lnTo>
                <a:lnTo>
                  <a:pt x="58712" y="79768"/>
                </a:lnTo>
                <a:lnTo>
                  <a:pt x="63969" y="72529"/>
                </a:lnTo>
                <a:lnTo>
                  <a:pt x="78156" y="72529"/>
                </a:lnTo>
                <a:lnTo>
                  <a:pt x="69354" y="65646"/>
                </a:lnTo>
                <a:lnTo>
                  <a:pt x="72885" y="61963"/>
                </a:lnTo>
                <a:lnTo>
                  <a:pt x="79768" y="58445"/>
                </a:lnTo>
                <a:lnTo>
                  <a:pt x="93313" y="58445"/>
                </a:lnTo>
                <a:lnTo>
                  <a:pt x="93115" y="58120"/>
                </a:lnTo>
                <a:lnTo>
                  <a:pt x="81483" y="52459"/>
                </a:lnTo>
                <a:close/>
              </a:path>
              <a:path w="328294" h="142875">
                <a:moveTo>
                  <a:pt x="78156" y="72529"/>
                </a:moveTo>
                <a:lnTo>
                  <a:pt x="63969" y="72529"/>
                </a:lnTo>
                <a:lnTo>
                  <a:pt x="90068" y="92938"/>
                </a:lnTo>
                <a:lnTo>
                  <a:pt x="98812" y="79044"/>
                </a:lnTo>
                <a:lnTo>
                  <a:pt x="86486" y="79044"/>
                </a:lnTo>
                <a:lnTo>
                  <a:pt x="78156" y="72529"/>
                </a:lnTo>
                <a:close/>
              </a:path>
              <a:path w="328294" h="142875">
                <a:moveTo>
                  <a:pt x="93313" y="58445"/>
                </a:moveTo>
                <a:lnTo>
                  <a:pt x="79768" y="58445"/>
                </a:lnTo>
                <a:lnTo>
                  <a:pt x="92405" y="68326"/>
                </a:lnTo>
                <a:lnTo>
                  <a:pt x="89382" y="75501"/>
                </a:lnTo>
                <a:lnTo>
                  <a:pt x="86486" y="79044"/>
                </a:lnTo>
                <a:lnTo>
                  <a:pt x="98812" y="79044"/>
                </a:lnTo>
                <a:lnTo>
                  <a:pt x="99515" y="68648"/>
                </a:lnTo>
                <a:lnTo>
                  <a:pt x="93313" y="58445"/>
                </a:lnTo>
                <a:close/>
              </a:path>
              <a:path w="328294" h="142875">
                <a:moveTo>
                  <a:pt x="56321" y="17729"/>
                </a:moveTo>
                <a:lnTo>
                  <a:pt x="45275" y="17729"/>
                </a:lnTo>
                <a:lnTo>
                  <a:pt x="51790" y="29451"/>
                </a:lnTo>
                <a:lnTo>
                  <a:pt x="16992" y="48806"/>
                </a:lnTo>
                <a:lnTo>
                  <a:pt x="23113" y="59817"/>
                </a:lnTo>
                <a:lnTo>
                  <a:pt x="66357" y="35763"/>
                </a:lnTo>
                <a:lnTo>
                  <a:pt x="56321" y="17729"/>
                </a:lnTo>
                <a:close/>
              </a:path>
              <a:path w="328294" h="142875">
                <a:moveTo>
                  <a:pt x="7886" y="14465"/>
                </a:moveTo>
                <a:lnTo>
                  <a:pt x="0" y="20358"/>
                </a:lnTo>
                <a:lnTo>
                  <a:pt x="2870" y="25514"/>
                </a:lnTo>
                <a:lnTo>
                  <a:pt x="5803" y="28067"/>
                </a:lnTo>
                <a:lnTo>
                  <a:pt x="9575" y="29210"/>
                </a:lnTo>
                <a:lnTo>
                  <a:pt x="19398" y="29955"/>
                </a:lnTo>
                <a:lnTo>
                  <a:pt x="31767" y="25157"/>
                </a:lnTo>
                <a:lnTo>
                  <a:pt x="41857" y="19608"/>
                </a:lnTo>
                <a:lnTo>
                  <a:pt x="17030" y="19608"/>
                </a:lnTo>
                <a:lnTo>
                  <a:pt x="12585" y="17894"/>
                </a:lnTo>
                <a:lnTo>
                  <a:pt x="10921" y="17424"/>
                </a:lnTo>
                <a:lnTo>
                  <a:pt x="9283" y="16129"/>
                </a:lnTo>
                <a:lnTo>
                  <a:pt x="7886" y="14465"/>
                </a:lnTo>
                <a:close/>
              </a:path>
              <a:path w="328294" h="142875">
                <a:moveTo>
                  <a:pt x="48031" y="2832"/>
                </a:moveTo>
                <a:lnTo>
                  <a:pt x="22199" y="17208"/>
                </a:lnTo>
                <a:lnTo>
                  <a:pt x="17030" y="19608"/>
                </a:lnTo>
                <a:lnTo>
                  <a:pt x="41857" y="19608"/>
                </a:lnTo>
                <a:lnTo>
                  <a:pt x="45275" y="17729"/>
                </a:lnTo>
                <a:lnTo>
                  <a:pt x="56321" y="17729"/>
                </a:lnTo>
                <a:lnTo>
                  <a:pt x="48031" y="2832"/>
                </a:lnTo>
                <a:close/>
              </a:path>
              <a:path w="328294" h="142875">
                <a:moveTo>
                  <a:pt x="141317" y="105130"/>
                </a:moveTo>
                <a:lnTo>
                  <a:pt x="120929" y="105130"/>
                </a:lnTo>
                <a:lnTo>
                  <a:pt x="128777" y="107238"/>
                </a:lnTo>
                <a:lnTo>
                  <a:pt x="131559" y="111353"/>
                </a:lnTo>
                <a:lnTo>
                  <a:pt x="132372" y="118516"/>
                </a:lnTo>
                <a:lnTo>
                  <a:pt x="133311" y="127508"/>
                </a:lnTo>
                <a:lnTo>
                  <a:pt x="134035" y="129908"/>
                </a:lnTo>
                <a:lnTo>
                  <a:pt x="146583" y="133299"/>
                </a:lnTo>
                <a:lnTo>
                  <a:pt x="145541" y="128600"/>
                </a:lnTo>
                <a:lnTo>
                  <a:pt x="145199" y="122821"/>
                </a:lnTo>
                <a:lnTo>
                  <a:pt x="143509" y="110363"/>
                </a:lnTo>
                <a:lnTo>
                  <a:pt x="141317" y="105130"/>
                </a:lnTo>
                <a:close/>
              </a:path>
              <a:path w="328294" h="142875">
                <a:moveTo>
                  <a:pt x="116395" y="73914"/>
                </a:moveTo>
                <a:lnTo>
                  <a:pt x="103530" y="121691"/>
                </a:lnTo>
                <a:lnTo>
                  <a:pt x="115595" y="124942"/>
                </a:lnTo>
                <a:lnTo>
                  <a:pt x="120929" y="105130"/>
                </a:lnTo>
                <a:lnTo>
                  <a:pt x="141317" y="105130"/>
                </a:lnTo>
                <a:lnTo>
                  <a:pt x="140881" y="104089"/>
                </a:lnTo>
                <a:lnTo>
                  <a:pt x="134581" y="101333"/>
                </a:lnTo>
                <a:lnTo>
                  <a:pt x="140610" y="97459"/>
                </a:lnTo>
                <a:lnTo>
                  <a:pt x="124891" y="97459"/>
                </a:lnTo>
                <a:lnTo>
                  <a:pt x="123126" y="96989"/>
                </a:lnTo>
                <a:lnTo>
                  <a:pt x="128460" y="77165"/>
                </a:lnTo>
                <a:lnTo>
                  <a:pt x="116395" y="73914"/>
                </a:lnTo>
                <a:close/>
              </a:path>
              <a:path w="328294" h="142875">
                <a:moveTo>
                  <a:pt x="144945" y="81610"/>
                </a:moveTo>
                <a:lnTo>
                  <a:pt x="124891" y="97459"/>
                </a:lnTo>
                <a:lnTo>
                  <a:pt x="140610" y="97459"/>
                </a:lnTo>
                <a:lnTo>
                  <a:pt x="159270" y="85471"/>
                </a:lnTo>
                <a:lnTo>
                  <a:pt x="144945" y="81610"/>
                </a:lnTo>
                <a:close/>
              </a:path>
              <a:path w="328294" h="142875">
                <a:moveTo>
                  <a:pt x="220607" y="127215"/>
                </a:moveTo>
                <a:lnTo>
                  <a:pt x="210045" y="127215"/>
                </a:lnTo>
                <a:lnTo>
                  <a:pt x="213093" y="142773"/>
                </a:lnTo>
                <a:lnTo>
                  <a:pt x="222529" y="141236"/>
                </a:lnTo>
                <a:lnTo>
                  <a:pt x="220607" y="127215"/>
                </a:lnTo>
                <a:close/>
              </a:path>
              <a:path w="328294" h="142875">
                <a:moveTo>
                  <a:pt x="176669" y="82511"/>
                </a:moveTo>
                <a:lnTo>
                  <a:pt x="164325" y="84518"/>
                </a:lnTo>
                <a:lnTo>
                  <a:pt x="172275" y="133362"/>
                </a:lnTo>
                <a:lnTo>
                  <a:pt x="210045" y="127215"/>
                </a:lnTo>
                <a:lnTo>
                  <a:pt x="220607" y="127215"/>
                </a:lnTo>
                <a:lnTo>
                  <a:pt x="219867" y="121818"/>
                </a:lnTo>
                <a:lnTo>
                  <a:pt x="183057" y="121818"/>
                </a:lnTo>
                <a:lnTo>
                  <a:pt x="176669" y="82511"/>
                </a:lnTo>
                <a:close/>
              </a:path>
              <a:path w="328294" h="142875">
                <a:moveTo>
                  <a:pt x="207352" y="77520"/>
                </a:moveTo>
                <a:lnTo>
                  <a:pt x="195021" y="79527"/>
                </a:lnTo>
                <a:lnTo>
                  <a:pt x="201409" y="118833"/>
                </a:lnTo>
                <a:lnTo>
                  <a:pt x="183057" y="121818"/>
                </a:lnTo>
                <a:lnTo>
                  <a:pt x="219867" y="121818"/>
                </a:lnTo>
                <a:lnTo>
                  <a:pt x="219265" y="117424"/>
                </a:lnTo>
                <a:lnTo>
                  <a:pt x="213842" y="117424"/>
                </a:lnTo>
                <a:lnTo>
                  <a:pt x="207352" y="77520"/>
                </a:lnTo>
                <a:close/>
              </a:path>
              <a:path w="328294" h="142875">
                <a:moveTo>
                  <a:pt x="219176" y="116776"/>
                </a:moveTo>
                <a:lnTo>
                  <a:pt x="213842" y="117424"/>
                </a:lnTo>
                <a:lnTo>
                  <a:pt x="219265" y="117424"/>
                </a:lnTo>
                <a:lnTo>
                  <a:pt x="219176" y="116776"/>
                </a:lnTo>
                <a:close/>
              </a:path>
              <a:path w="328294" h="142875">
                <a:moveTo>
                  <a:pt x="226758" y="68199"/>
                </a:moveTo>
                <a:lnTo>
                  <a:pt x="217220" y="75298"/>
                </a:lnTo>
                <a:lnTo>
                  <a:pt x="246748" y="114998"/>
                </a:lnTo>
                <a:lnTo>
                  <a:pt x="258737" y="106083"/>
                </a:lnTo>
                <a:lnTo>
                  <a:pt x="257561" y="98945"/>
                </a:lnTo>
                <a:lnTo>
                  <a:pt x="248754" y="98945"/>
                </a:lnTo>
                <a:lnTo>
                  <a:pt x="242011" y="88696"/>
                </a:lnTo>
                <a:lnTo>
                  <a:pt x="226758" y="68199"/>
                </a:lnTo>
                <a:close/>
              </a:path>
              <a:path w="328294" h="142875">
                <a:moveTo>
                  <a:pt x="253745" y="48133"/>
                </a:moveTo>
                <a:lnTo>
                  <a:pt x="241604" y="57162"/>
                </a:lnTo>
                <a:lnTo>
                  <a:pt x="245643" y="83032"/>
                </a:lnTo>
                <a:lnTo>
                  <a:pt x="246710" y="88747"/>
                </a:lnTo>
                <a:lnTo>
                  <a:pt x="247649" y="92544"/>
                </a:lnTo>
                <a:lnTo>
                  <a:pt x="248996" y="98767"/>
                </a:lnTo>
                <a:lnTo>
                  <a:pt x="248754" y="98945"/>
                </a:lnTo>
                <a:lnTo>
                  <a:pt x="257561" y="98945"/>
                </a:lnTo>
                <a:lnTo>
                  <a:pt x="253403" y="73710"/>
                </a:lnTo>
                <a:lnTo>
                  <a:pt x="252577" y="69888"/>
                </a:lnTo>
                <a:lnTo>
                  <a:pt x="251028" y="63703"/>
                </a:lnTo>
                <a:lnTo>
                  <a:pt x="251345" y="63461"/>
                </a:lnTo>
                <a:lnTo>
                  <a:pt x="265147" y="63461"/>
                </a:lnTo>
                <a:lnTo>
                  <a:pt x="253745" y="48133"/>
                </a:lnTo>
                <a:close/>
              </a:path>
              <a:path w="328294" h="142875">
                <a:moveTo>
                  <a:pt x="265147" y="63461"/>
                </a:moveTo>
                <a:lnTo>
                  <a:pt x="251345" y="63461"/>
                </a:lnTo>
                <a:lnTo>
                  <a:pt x="256514" y="71259"/>
                </a:lnTo>
                <a:lnTo>
                  <a:pt x="258457" y="74383"/>
                </a:lnTo>
                <a:lnTo>
                  <a:pt x="273735" y="94919"/>
                </a:lnTo>
                <a:lnTo>
                  <a:pt x="283273" y="87833"/>
                </a:lnTo>
                <a:lnTo>
                  <a:pt x="265147" y="63461"/>
                </a:lnTo>
                <a:close/>
              </a:path>
              <a:path w="328294" h="142875">
                <a:moveTo>
                  <a:pt x="268262" y="31419"/>
                </a:moveTo>
                <a:lnTo>
                  <a:pt x="262610" y="41884"/>
                </a:lnTo>
                <a:lnTo>
                  <a:pt x="306133" y="65417"/>
                </a:lnTo>
                <a:lnTo>
                  <a:pt x="313232" y="52285"/>
                </a:lnTo>
                <a:lnTo>
                  <a:pt x="311692" y="50025"/>
                </a:lnTo>
                <a:lnTo>
                  <a:pt x="301167" y="50025"/>
                </a:lnTo>
                <a:lnTo>
                  <a:pt x="290791" y="43599"/>
                </a:lnTo>
                <a:lnTo>
                  <a:pt x="268262" y="31419"/>
                </a:lnTo>
                <a:close/>
              </a:path>
              <a:path w="328294" h="142875">
                <a:moveTo>
                  <a:pt x="284264" y="1841"/>
                </a:moveTo>
                <a:lnTo>
                  <a:pt x="277063" y="15163"/>
                </a:lnTo>
                <a:lnTo>
                  <a:pt x="291642" y="36906"/>
                </a:lnTo>
                <a:lnTo>
                  <a:pt x="294982" y="41605"/>
                </a:lnTo>
                <a:lnTo>
                  <a:pt x="297484" y="44691"/>
                </a:lnTo>
                <a:lnTo>
                  <a:pt x="301320" y="49758"/>
                </a:lnTo>
                <a:lnTo>
                  <a:pt x="301167" y="50025"/>
                </a:lnTo>
                <a:lnTo>
                  <a:pt x="311692" y="50025"/>
                </a:lnTo>
                <a:lnTo>
                  <a:pt x="294741" y="25184"/>
                </a:lnTo>
                <a:lnTo>
                  <a:pt x="292392" y="22059"/>
                </a:lnTo>
                <a:lnTo>
                  <a:pt x="288366" y="17106"/>
                </a:lnTo>
                <a:lnTo>
                  <a:pt x="288556" y="16751"/>
                </a:lnTo>
                <a:lnTo>
                  <a:pt x="311823" y="16751"/>
                </a:lnTo>
                <a:lnTo>
                  <a:pt x="284264" y="1841"/>
                </a:lnTo>
                <a:close/>
              </a:path>
              <a:path w="328294" h="142875">
                <a:moveTo>
                  <a:pt x="311823" y="16751"/>
                </a:moveTo>
                <a:lnTo>
                  <a:pt x="288556" y="16751"/>
                </a:lnTo>
                <a:lnTo>
                  <a:pt x="296545" y="21653"/>
                </a:lnTo>
                <a:lnTo>
                  <a:pt x="299605" y="23660"/>
                </a:lnTo>
                <a:lnTo>
                  <a:pt x="322135" y="35839"/>
                </a:lnTo>
                <a:lnTo>
                  <a:pt x="327786" y="25387"/>
                </a:lnTo>
                <a:lnTo>
                  <a:pt x="311823" y="16751"/>
                </a:lnTo>
                <a:close/>
              </a:path>
              <a:path w="328294" h="142875">
                <a:moveTo>
                  <a:pt x="252945" y="17246"/>
                </a:moveTo>
                <a:lnTo>
                  <a:pt x="248983" y="24574"/>
                </a:lnTo>
                <a:lnTo>
                  <a:pt x="256146" y="27990"/>
                </a:lnTo>
                <a:lnTo>
                  <a:pt x="262991" y="27076"/>
                </a:lnTo>
                <a:lnTo>
                  <a:pt x="267284" y="19138"/>
                </a:lnTo>
                <a:lnTo>
                  <a:pt x="256895" y="19138"/>
                </a:lnTo>
                <a:lnTo>
                  <a:pt x="252945" y="17246"/>
                </a:lnTo>
                <a:close/>
              </a:path>
              <a:path w="328294" h="142875">
                <a:moveTo>
                  <a:pt x="262280" y="0"/>
                </a:moveTo>
                <a:lnTo>
                  <a:pt x="258368" y="7239"/>
                </a:lnTo>
                <a:lnTo>
                  <a:pt x="262013" y="9677"/>
                </a:lnTo>
                <a:lnTo>
                  <a:pt x="263817" y="12725"/>
                </a:lnTo>
                <a:lnTo>
                  <a:pt x="260438" y="18986"/>
                </a:lnTo>
                <a:lnTo>
                  <a:pt x="256895" y="19138"/>
                </a:lnTo>
                <a:lnTo>
                  <a:pt x="267284" y="19138"/>
                </a:lnTo>
                <a:lnTo>
                  <a:pt x="271310" y="11696"/>
                </a:lnTo>
                <a:lnTo>
                  <a:pt x="269811" y="4648"/>
                </a:lnTo>
                <a:lnTo>
                  <a:pt x="26228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9" name="object 149"/>
          <p:cNvSpPr/>
          <p:nvPr/>
        </p:nvSpPr>
        <p:spPr>
          <a:xfrm>
            <a:off x="6473300" y="5495291"/>
            <a:ext cx="328295" cy="142875"/>
          </a:xfrm>
          <a:custGeom>
            <a:avLst/>
            <a:gdLst/>
            <a:ahLst/>
            <a:cxnLst/>
            <a:rect l="l" t="t" r="r" b="b"/>
            <a:pathLst>
              <a:path w="328295" h="142875">
                <a:moveTo>
                  <a:pt x="81463" y="52480"/>
                </a:moveTo>
                <a:lnTo>
                  <a:pt x="70422" y="52952"/>
                </a:lnTo>
                <a:lnTo>
                  <a:pt x="60837" y="58219"/>
                </a:lnTo>
                <a:lnTo>
                  <a:pt x="53013" y="70595"/>
                </a:lnTo>
                <a:lnTo>
                  <a:pt x="50944" y="81643"/>
                </a:lnTo>
                <a:lnTo>
                  <a:pt x="54209" y="91303"/>
                </a:lnTo>
                <a:lnTo>
                  <a:pt x="67651" y="102407"/>
                </a:lnTo>
                <a:lnTo>
                  <a:pt x="75612" y="106415"/>
                </a:lnTo>
                <a:lnTo>
                  <a:pt x="80289" y="98729"/>
                </a:lnTo>
                <a:lnTo>
                  <a:pt x="76453" y="97536"/>
                </a:lnTo>
                <a:lnTo>
                  <a:pt x="72669" y="95605"/>
                </a:lnTo>
                <a:lnTo>
                  <a:pt x="61861" y="87160"/>
                </a:lnTo>
                <a:lnTo>
                  <a:pt x="58712" y="79806"/>
                </a:lnTo>
                <a:lnTo>
                  <a:pt x="63969" y="72567"/>
                </a:lnTo>
                <a:lnTo>
                  <a:pt x="78164" y="72567"/>
                </a:lnTo>
                <a:lnTo>
                  <a:pt x="69354" y="65684"/>
                </a:lnTo>
                <a:lnTo>
                  <a:pt x="72885" y="61988"/>
                </a:lnTo>
                <a:lnTo>
                  <a:pt x="79755" y="58470"/>
                </a:lnTo>
                <a:lnTo>
                  <a:pt x="93304" y="58470"/>
                </a:lnTo>
                <a:lnTo>
                  <a:pt x="93095" y="58128"/>
                </a:lnTo>
                <a:lnTo>
                  <a:pt x="81463" y="52480"/>
                </a:lnTo>
                <a:close/>
              </a:path>
              <a:path w="328295" h="142875">
                <a:moveTo>
                  <a:pt x="78164" y="72567"/>
                </a:moveTo>
                <a:lnTo>
                  <a:pt x="63969" y="72567"/>
                </a:lnTo>
                <a:lnTo>
                  <a:pt x="90081" y="92964"/>
                </a:lnTo>
                <a:lnTo>
                  <a:pt x="98814" y="79070"/>
                </a:lnTo>
                <a:lnTo>
                  <a:pt x="86486" y="79070"/>
                </a:lnTo>
                <a:lnTo>
                  <a:pt x="78164" y="72567"/>
                </a:lnTo>
                <a:close/>
              </a:path>
              <a:path w="328295" h="142875">
                <a:moveTo>
                  <a:pt x="93304" y="58470"/>
                </a:moveTo>
                <a:lnTo>
                  <a:pt x="79755" y="58470"/>
                </a:lnTo>
                <a:lnTo>
                  <a:pt x="92405" y="68351"/>
                </a:lnTo>
                <a:lnTo>
                  <a:pt x="89382" y="75539"/>
                </a:lnTo>
                <a:lnTo>
                  <a:pt x="86486" y="79070"/>
                </a:lnTo>
                <a:lnTo>
                  <a:pt x="98814" y="79070"/>
                </a:lnTo>
                <a:lnTo>
                  <a:pt x="99507" y="68655"/>
                </a:lnTo>
                <a:lnTo>
                  <a:pt x="93304" y="58470"/>
                </a:lnTo>
                <a:close/>
              </a:path>
              <a:path w="328295" h="142875">
                <a:moveTo>
                  <a:pt x="56321" y="17767"/>
                </a:moveTo>
                <a:lnTo>
                  <a:pt x="45275" y="17767"/>
                </a:lnTo>
                <a:lnTo>
                  <a:pt x="51790" y="29489"/>
                </a:lnTo>
                <a:lnTo>
                  <a:pt x="16992" y="48844"/>
                </a:lnTo>
                <a:lnTo>
                  <a:pt x="23113" y="59867"/>
                </a:lnTo>
                <a:lnTo>
                  <a:pt x="66357" y="35801"/>
                </a:lnTo>
                <a:lnTo>
                  <a:pt x="56321" y="17767"/>
                </a:lnTo>
                <a:close/>
              </a:path>
              <a:path w="328295" h="142875">
                <a:moveTo>
                  <a:pt x="7886" y="14503"/>
                </a:moveTo>
                <a:lnTo>
                  <a:pt x="0" y="20396"/>
                </a:lnTo>
                <a:lnTo>
                  <a:pt x="2870" y="25552"/>
                </a:lnTo>
                <a:lnTo>
                  <a:pt x="5803" y="28105"/>
                </a:lnTo>
                <a:lnTo>
                  <a:pt x="9575" y="29248"/>
                </a:lnTo>
                <a:lnTo>
                  <a:pt x="19398" y="29993"/>
                </a:lnTo>
                <a:lnTo>
                  <a:pt x="31767" y="25195"/>
                </a:lnTo>
                <a:lnTo>
                  <a:pt x="41834" y="19659"/>
                </a:lnTo>
                <a:lnTo>
                  <a:pt x="17017" y="19659"/>
                </a:lnTo>
                <a:lnTo>
                  <a:pt x="12585" y="17932"/>
                </a:lnTo>
                <a:lnTo>
                  <a:pt x="10921" y="17462"/>
                </a:lnTo>
                <a:lnTo>
                  <a:pt x="9270" y="16167"/>
                </a:lnTo>
                <a:lnTo>
                  <a:pt x="7886" y="14503"/>
                </a:lnTo>
                <a:close/>
              </a:path>
              <a:path w="328295" h="142875">
                <a:moveTo>
                  <a:pt x="48031" y="2870"/>
                </a:moveTo>
                <a:lnTo>
                  <a:pt x="22199" y="17246"/>
                </a:lnTo>
                <a:lnTo>
                  <a:pt x="17017" y="19659"/>
                </a:lnTo>
                <a:lnTo>
                  <a:pt x="41834" y="19659"/>
                </a:lnTo>
                <a:lnTo>
                  <a:pt x="45275" y="17767"/>
                </a:lnTo>
                <a:lnTo>
                  <a:pt x="56321" y="17767"/>
                </a:lnTo>
                <a:lnTo>
                  <a:pt x="48031" y="2870"/>
                </a:lnTo>
                <a:close/>
              </a:path>
              <a:path w="328295" h="142875">
                <a:moveTo>
                  <a:pt x="141655" y="105143"/>
                </a:moveTo>
                <a:lnTo>
                  <a:pt x="121450" y="105143"/>
                </a:lnTo>
                <a:lnTo>
                  <a:pt x="129247" y="107429"/>
                </a:lnTo>
                <a:lnTo>
                  <a:pt x="131940" y="111620"/>
                </a:lnTo>
                <a:lnTo>
                  <a:pt x="132628" y="119443"/>
                </a:lnTo>
                <a:lnTo>
                  <a:pt x="133311" y="127800"/>
                </a:lnTo>
                <a:lnTo>
                  <a:pt x="133984" y="130225"/>
                </a:lnTo>
                <a:lnTo>
                  <a:pt x="146456" y="133883"/>
                </a:lnTo>
                <a:lnTo>
                  <a:pt x="145516" y="129171"/>
                </a:lnTo>
                <a:lnTo>
                  <a:pt x="145313" y="123393"/>
                </a:lnTo>
                <a:lnTo>
                  <a:pt x="143903" y="110896"/>
                </a:lnTo>
                <a:lnTo>
                  <a:pt x="141655" y="105143"/>
                </a:lnTo>
                <a:close/>
              </a:path>
              <a:path w="328295" h="142875">
                <a:moveTo>
                  <a:pt x="117627" y="73837"/>
                </a:moveTo>
                <a:lnTo>
                  <a:pt x="103670" y="121310"/>
                </a:lnTo>
                <a:lnTo>
                  <a:pt x="115658" y="124828"/>
                </a:lnTo>
                <a:lnTo>
                  <a:pt x="121450" y="105143"/>
                </a:lnTo>
                <a:lnTo>
                  <a:pt x="141655" y="105143"/>
                </a:lnTo>
                <a:lnTo>
                  <a:pt x="141427" y="104559"/>
                </a:lnTo>
                <a:lnTo>
                  <a:pt x="135178" y="101663"/>
                </a:lnTo>
                <a:lnTo>
                  <a:pt x="141891" y="97561"/>
                </a:lnTo>
                <a:lnTo>
                  <a:pt x="125577" y="97561"/>
                </a:lnTo>
                <a:lnTo>
                  <a:pt x="123824" y="97053"/>
                </a:lnTo>
                <a:lnTo>
                  <a:pt x="129616" y="77368"/>
                </a:lnTo>
                <a:lnTo>
                  <a:pt x="117627" y="73837"/>
                </a:lnTo>
                <a:close/>
              </a:path>
              <a:path w="328295" h="142875">
                <a:moveTo>
                  <a:pt x="145999" y="82181"/>
                </a:moveTo>
                <a:lnTo>
                  <a:pt x="125577" y="97561"/>
                </a:lnTo>
                <a:lnTo>
                  <a:pt x="141891" y="97561"/>
                </a:lnTo>
                <a:lnTo>
                  <a:pt x="160223" y="86360"/>
                </a:lnTo>
                <a:lnTo>
                  <a:pt x="145999" y="82181"/>
                </a:lnTo>
                <a:close/>
              </a:path>
              <a:path w="328295" h="142875">
                <a:moveTo>
                  <a:pt x="220632" y="127241"/>
                </a:moveTo>
                <a:lnTo>
                  <a:pt x="210070" y="127241"/>
                </a:lnTo>
                <a:lnTo>
                  <a:pt x="213118" y="142811"/>
                </a:lnTo>
                <a:lnTo>
                  <a:pt x="222554" y="141274"/>
                </a:lnTo>
                <a:lnTo>
                  <a:pt x="220632" y="127241"/>
                </a:lnTo>
                <a:close/>
              </a:path>
              <a:path w="328295" h="142875">
                <a:moveTo>
                  <a:pt x="176695" y="82550"/>
                </a:moveTo>
                <a:lnTo>
                  <a:pt x="164350" y="84556"/>
                </a:lnTo>
                <a:lnTo>
                  <a:pt x="172300" y="133388"/>
                </a:lnTo>
                <a:lnTo>
                  <a:pt x="210070" y="127241"/>
                </a:lnTo>
                <a:lnTo>
                  <a:pt x="220632" y="127241"/>
                </a:lnTo>
                <a:lnTo>
                  <a:pt x="219894" y="121856"/>
                </a:lnTo>
                <a:lnTo>
                  <a:pt x="183083" y="121856"/>
                </a:lnTo>
                <a:lnTo>
                  <a:pt x="176695" y="82550"/>
                </a:lnTo>
                <a:close/>
              </a:path>
              <a:path w="328295" h="142875">
                <a:moveTo>
                  <a:pt x="207378" y="77558"/>
                </a:moveTo>
                <a:lnTo>
                  <a:pt x="195046" y="79565"/>
                </a:lnTo>
                <a:lnTo>
                  <a:pt x="201434" y="118872"/>
                </a:lnTo>
                <a:lnTo>
                  <a:pt x="183083" y="121856"/>
                </a:lnTo>
                <a:lnTo>
                  <a:pt x="219894" y="121856"/>
                </a:lnTo>
                <a:lnTo>
                  <a:pt x="219292" y="117462"/>
                </a:lnTo>
                <a:lnTo>
                  <a:pt x="213867" y="117462"/>
                </a:lnTo>
                <a:lnTo>
                  <a:pt x="207378" y="77558"/>
                </a:lnTo>
                <a:close/>
              </a:path>
              <a:path w="328295" h="142875">
                <a:moveTo>
                  <a:pt x="219201" y="116801"/>
                </a:moveTo>
                <a:lnTo>
                  <a:pt x="213867" y="117462"/>
                </a:lnTo>
                <a:lnTo>
                  <a:pt x="219292" y="117462"/>
                </a:lnTo>
                <a:lnTo>
                  <a:pt x="219201" y="116801"/>
                </a:lnTo>
                <a:close/>
              </a:path>
              <a:path w="328295" h="142875">
                <a:moveTo>
                  <a:pt x="226783" y="68224"/>
                </a:moveTo>
                <a:lnTo>
                  <a:pt x="217246" y="75323"/>
                </a:lnTo>
                <a:lnTo>
                  <a:pt x="246773" y="115023"/>
                </a:lnTo>
                <a:lnTo>
                  <a:pt x="258762" y="106108"/>
                </a:lnTo>
                <a:lnTo>
                  <a:pt x="257583" y="98971"/>
                </a:lnTo>
                <a:lnTo>
                  <a:pt x="248767" y="98971"/>
                </a:lnTo>
                <a:lnTo>
                  <a:pt x="242024" y="88722"/>
                </a:lnTo>
                <a:lnTo>
                  <a:pt x="226783" y="68224"/>
                </a:lnTo>
                <a:close/>
              </a:path>
              <a:path w="328295" h="142875">
                <a:moveTo>
                  <a:pt x="253758" y="48158"/>
                </a:moveTo>
                <a:lnTo>
                  <a:pt x="241617" y="57188"/>
                </a:lnTo>
                <a:lnTo>
                  <a:pt x="245656" y="83058"/>
                </a:lnTo>
                <a:lnTo>
                  <a:pt x="246722" y="88773"/>
                </a:lnTo>
                <a:lnTo>
                  <a:pt x="247675" y="92570"/>
                </a:lnTo>
                <a:lnTo>
                  <a:pt x="249008" y="98793"/>
                </a:lnTo>
                <a:lnTo>
                  <a:pt x="248767" y="98971"/>
                </a:lnTo>
                <a:lnTo>
                  <a:pt x="257583" y="98971"/>
                </a:lnTo>
                <a:lnTo>
                  <a:pt x="253415" y="73736"/>
                </a:lnTo>
                <a:lnTo>
                  <a:pt x="252602" y="69913"/>
                </a:lnTo>
                <a:lnTo>
                  <a:pt x="251040" y="63728"/>
                </a:lnTo>
                <a:lnTo>
                  <a:pt x="251371" y="63487"/>
                </a:lnTo>
                <a:lnTo>
                  <a:pt x="265164" y="63487"/>
                </a:lnTo>
                <a:lnTo>
                  <a:pt x="253758" y="48158"/>
                </a:lnTo>
                <a:close/>
              </a:path>
              <a:path w="328295" h="142875">
                <a:moveTo>
                  <a:pt x="265164" y="63487"/>
                </a:moveTo>
                <a:lnTo>
                  <a:pt x="251371" y="63487"/>
                </a:lnTo>
                <a:lnTo>
                  <a:pt x="256539" y="71285"/>
                </a:lnTo>
                <a:lnTo>
                  <a:pt x="258470" y="74409"/>
                </a:lnTo>
                <a:lnTo>
                  <a:pt x="273748" y="94957"/>
                </a:lnTo>
                <a:lnTo>
                  <a:pt x="283298" y="87858"/>
                </a:lnTo>
                <a:lnTo>
                  <a:pt x="265164" y="63487"/>
                </a:lnTo>
                <a:close/>
              </a:path>
              <a:path w="328295" h="142875">
                <a:moveTo>
                  <a:pt x="268287" y="31432"/>
                </a:moveTo>
                <a:lnTo>
                  <a:pt x="262623" y="41884"/>
                </a:lnTo>
                <a:lnTo>
                  <a:pt x="306133" y="65443"/>
                </a:lnTo>
                <a:lnTo>
                  <a:pt x="313245" y="52298"/>
                </a:lnTo>
                <a:lnTo>
                  <a:pt x="311712" y="50050"/>
                </a:lnTo>
                <a:lnTo>
                  <a:pt x="301180" y="50050"/>
                </a:lnTo>
                <a:lnTo>
                  <a:pt x="290804" y="43624"/>
                </a:lnTo>
                <a:lnTo>
                  <a:pt x="268287" y="31432"/>
                </a:lnTo>
                <a:close/>
              </a:path>
              <a:path w="328295" h="142875">
                <a:moveTo>
                  <a:pt x="284289" y="1854"/>
                </a:moveTo>
                <a:lnTo>
                  <a:pt x="277088" y="15163"/>
                </a:lnTo>
                <a:lnTo>
                  <a:pt x="291655" y="36918"/>
                </a:lnTo>
                <a:lnTo>
                  <a:pt x="295008" y="41617"/>
                </a:lnTo>
                <a:lnTo>
                  <a:pt x="297497" y="44704"/>
                </a:lnTo>
                <a:lnTo>
                  <a:pt x="301332" y="49784"/>
                </a:lnTo>
                <a:lnTo>
                  <a:pt x="301180" y="50050"/>
                </a:lnTo>
                <a:lnTo>
                  <a:pt x="311712" y="50050"/>
                </a:lnTo>
                <a:lnTo>
                  <a:pt x="294766" y="25196"/>
                </a:lnTo>
                <a:lnTo>
                  <a:pt x="292404" y="22085"/>
                </a:lnTo>
                <a:lnTo>
                  <a:pt x="288391" y="17119"/>
                </a:lnTo>
                <a:lnTo>
                  <a:pt x="288582" y="16764"/>
                </a:lnTo>
                <a:lnTo>
                  <a:pt x="311841" y="16764"/>
                </a:lnTo>
                <a:lnTo>
                  <a:pt x="284289" y="1854"/>
                </a:lnTo>
                <a:close/>
              </a:path>
              <a:path w="328295" h="142875">
                <a:moveTo>
                  <a:pt x="311841" y="16764"/>
                </a:moveTo>
                <a:lnTo>
                  <a:pt x="288582" y="16764"/>
                </a:lnTo>
                <a:lnTo>
                  <a:pt x="296557" y="21666"/>
                </a:lnTo>
                <a:lnTo>
                  <a:pt x="299631" y="23672"/>
                </a:lnTo>
                <a:lnTo>
                  <a:pt x="322148" y="35864"/>
                </a:lnTo>
                <a:lnTo>
                  <a:pt x="327799" y="25400"/>
                </a:lnTo>
                <a:lnTo>
                  <a:pt x="311841" y="16764"/>
                </a:lnTo>
                <a:close/>
              </a:path>
              <a:path w="328295" h="142875">
                <a:moveTo>
                  <a:pt x="252971" y="17246"/>
                </a:moveTo>
                <a:lnTo>
                  <a:pt x="249008" y="24574"/>
                </a:lnTo>
                <a:lnTo>
                  <a:pt x="256171" y="27990"/>
                </a:lnTo>
                <a:lnTo>
                  <a:pt x="263016" y="27076"/>
                </a:lnTo>
                <a:lnTo>
                  <a:pt x="267306" y="19151"/>
                </a:lnTo>
                <a:lnTo>
                  <a:pt x="256908" y="19151"/>
                </a:lnTo>
                <a:lnTo>
                  <a:pt x="252971" y="17246"/>
                </a:lnTo>
                <a:close/>
              </a:path>
              <a:path w="328295" h="142875">
                <a:moveTo>
                  <a:pt x="262305" y="0"/>
                </a:moveTo>
                <a:lnTo>
                  <a:pt x="258394" y="7239"/>
                </a:lnTo>
                <a:lnTo>
                  <a:pt x="262039" y="9677"/>
                </a:lnTo>
                <a:lnTo>
                  <a:pt x="263842" y="12738"/>
                </a:lnTo>
                <a:lnTo>
                  <a:pt x="260464" y="18999"/>
                </a:lnTo>
                <a:lnTo>
                  <a:pt x="256908" y="19151"/>
                </a:lnTo>
                <a:lnTo>
                  <a:pt x="267306" y="19151"/>
                </a:lnTo>
                <a:lnTo>
                  <a:pt x="271335" y="11709"/>
                </a:lnTo>
                <a:lnTo>
                  <a:pt x="269836" y="4660"/>
                </a:lnTo>
                <a:lnTo>
                  <a:pt x="262305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0" name="object 160"/>
          <p:cNvSpPr txBox="1"/>
          <p:nvPr/>
        </p:nvSpPr>
        <p:spPr>
          <a:xfrm>
            <a:off x="1109752" y="5245286"/>
            <a:ext cx="3528429" cy="4131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ct val="7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Развитие компетенций, необходимых для работы в инжиниринговой команде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  <a:p>
            <a:pPr marL="31750" marR="0" lvl="0" indent="0" algn="l" defTabSz="914400" rtl="0" eaLnBrk="1" fontAlgn="auto" latinLnBrk="0" hangingPunct="1">
              <a:lnSpc>
                <a:spcPct val="100000"/>
              </a:lnSpc>
              <a:spcBef>
                <a:spcPts val="4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КАФЕДРА ПРИКЛАДНОЙ И ОТРАСЛЕВОЙ СОЦИОЛОГИИ СПБГУ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161" name="object 161"/>
          <p:cNvSpPr txBox="1"/>
          <p:nvPr/>
        </p:nvSpPr>
        <p:spPr>
          <a:xfrm>
            <a:off x="6987502" y="5210537"/>
            <a:ext cx="4337760" cy="51402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127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Менеджмент в управлении бизнес-процессами проектов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Times New Roman"/>
            </a:endParaRPr>
          </a:p>
          <a:p>
            <a:pPr marL="12700" marR="5080" lvl="0" indent="0" algn="l" defTabSz="914400" rtl="0" eaLnBrk="1" fontAlgn="auto" latinLnBrk="0" hangingPunct="1">
              <a:lnSpc>
                <a:spcPts val="9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КАФЕДРА ЭКОНОМИКИ И УПРАВЛЕНИЯ ПРЕДПРИЯТИЯМИ И ПРОИЗВОДСТВЕННЫМИ КОМПЛЕКСАМИ СПБГЭУ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162" name="object 162"/>
          <p:cNvSpPr txBox="1"/>
          <p:nvPr/>
        </p:nvSpPr>
        <p:spPr>
          <a:xfrm>
            <a:off x="845185" y="5256124"/>
            <a:ext cx="205104" cy="3606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600" b="1" i="0" u="none" strike="noStrike" kern="1200" cap="none" spc="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6</a:t>
            </a:r>
            <a:endParaRPr kumimoji="0" sz="2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163" name="object 163"/>
          <p:cNvSpPr txBox="1"/>
          <p:nvPr/>
        </p:nvSpPr>
        <p:spPr>
          <a:xfrm>
            <a:off x="6530619" y="5256124"/>
            <a:ext cx="205104" cy="3606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600" b="1" i="0" u="none" strike="noStrike" kern="1200" cap="none" spc="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6</a:t>
            </a:r>
            <a:endParaRPr kumimoji="0" sz="2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253" name="object 253"/>
          <p:cNvSpPr txBox="1"/>
          <p:nvPr/>
        </p:nvSpPr>
        <p:spPr>
          <a:xfrm>
            <a:off x="3652164" y="3226255"/>
            <a:ext cx="60934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1" i="0" u="none" strike="noStrike" kern="1200" cap="none" spc="0" normalizeH="0" baseline="0" noProof="0" dirty="0">
                <a:ln>
                  <a:noFill/>
                </a:ln>
                <a:solidFill>
                  <a:srgbClr val="4ACA9F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16 человек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Myriad Pro"/>
            </a:endParaRPr>
          </a:p>
        </p:txBody>
      </p:sp>
      <p:sp>
        <p:nvSpPr>
          <p:cNvPr id="276" name="object 276"/>
          <p:cNvSpPr txBox="1"/>
          <p:nvPr/>
        </p:nvSpPr>
        <p:spPr>
          <a:xfrm>
            <a:off x="8538641" y="6609453"/>
            <a:ext cx="3355975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526CA2"/>
                </a:solidFill>
                <a:effectLst/>
                <a:uLnTx/>
                <a:uFillTx/>
                <a:latin typeface="Myriad Pro Light"/>
                <a:ea typeface="+mn-ea"/>
                <a:cs typeface="Myriad Pro Light"/>
              </a:rPr>
              <a:t>МКО - модель кадрового обеспечения, ИК - инжиниринговая команда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 Light"/>
              <a:ea typeface="+mn-ea"/>
              <a:cs typeface="Myriad Pro Light"/>
            </a:endParaRPr>
          </a:p>
        </p:txBody>
      </p:sp>
      <p:sp>
        <p:nvSpPr>
          <p:cNvPr id="303" name="object 303"/>
          <p:cNvSpPr txBox="1"/>
          <p:nvPr/>
        </p:nvSpPr>
        <p:spPr>
          <a:xfrm>
            <a:off x="7372451" y="3230039"/>
            <a:ext cx="531394" cy="1154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750" b="1" i="0" u="none" strike="noStrike" kern="1200" cap="none" spc="10" normalizeH="0" baseline="0" noProof="0" dirty="0">
                <a:ln>
                  <a:noFill/>
                </a:ln>
                <a:solidFill>
                  <a:srgbClr val="39C7D6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7 человек</a:t>
            </a:r>
            <a:endParaRPr kumimoji="0" sz="7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Myriad Pro"/>
            </a:endParaRPr>
          </a:p>
        </p:txBody>
      </p:sp>
      <p:sp>
        <p:nvSpPr>
          <p:cNvPr id="304" name="object 304"/>
          <p:cNvSpPr txBox="1"/>
          <p:nvPr/>
        </p:nvSpPr>
        <p:spPr>
          <a:xfrm>
            <a:off x="11325262" y="3230039"/>
            <a:ext cx="531394" cy="1154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50" b="1" i="0" u="none" strike="noStrike" kern="1200" cap="none" spc="10" normalizeH="0" baseline="0" noProof="0" dirty="0">
                <a:ln>
                  <a:noFill/>
                </a:ln>
                <a:solidFill>
                  <a:srgbClr val="077BE8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7</a:t>
            </a:r>
            <a:r>
              <a:rPr kumimoji="0" sz="750" b="1" i="0" u="none" strike="noStrike" kern="1200" cap="none" spc="10" normalizeH="0" baseline="0" noProof="0" dirty="0">
                <a:ln>
                  <a:noFill/>
                </a:ln>
                <a:solidFill>
                  <a:srgbClr val="077BE8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 человек</a:t>
            </a:r>
            <a:endParaRPr kumimoji="0" sz="7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Myriad Pro"/>
            </a:endParaRPr>
          </a:p>
        </p:txBody>
      </p:sp>
      <p:sp>
        <p:nvSpPr>
          <p:cNvPr id="310" name="object 88"/>
          <p:cNvSpPr txBox="1"/>
          <p:nvPr/>
        </p:nvSpPr>
        <p:spPr>
          <a:xfrm>
            <a:off x="845185" y="1228496"/>
            <a:ext cx="3333115" cy="4488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51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1 КЕЙС </a:t>
            </a:r>
          </a:p>
          <a:p>
            <a:pPr marL="0" marR="0" lvl="0" indent="0" algn="ctr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«Переработка вторичных материалов в технические изделия с заданными свойствами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/>
                <a:ea typeface="+mn-ea"/>
                <a:cs typeface="Myriad Pro"/>
              </a:rPr>
              <a:t>»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pposUW7To_O.MHA_S_E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pposUW7To_O.MHA_S_E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RMySOPNZQP4BBNHrezx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YJE5gL31npUJp.xEiZE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Тема по умолчанию">
  <a:themeElements>
    <a:clrScheme name="Прагматик">
      <a:dk1>
        <a:srgbClr val="333333"/>
      </a:dk1>
      <a:lt1>
        <a:sysClr val="window" lastClr="FFFFFF"/>
      </a:lt1>
      <a:dk2>
        <a:srgbClr val="717171"/>
      </a:dk2>
      <a:lt2>
        <a:srgbClr val="FFFFFF"/>
      </a:lt2>
      <a:accent1>
        <a:srgbClr val="95C11F"/>
      </a:accent1>
      <a:accent2>
        <a:srgbClr val="395175"/>
      </a:accent2>
      <a:accent3>
        <a:srgbClr val="FF9966"/>
      </a:accent3>
      <a:accent4>
        <a:srgbClr val="B15661"/>
      </a:accent4>
      <a:accent5>
        <a:srgbClr val="CACACA"/>
      </a:accent5>
      <a:accent6>
        <a:srgbClr val="FF9999"/>
      </a:accent6>
      <a:hlink>
        <a:srgbClr val="003366"/>
      </a:hlink>
      <a:folHlink>
        <a:srgbClr val="99CCFF"/>
      </a:folHlink>
    </a:clrScheme>
    <a:fontScheme name="Важная">
      <a:majorFont>
        <a:latin typeface="Arial Black"/>
        <a:ea typeface=""/>
        <a:cs typeface=""/>
        <a:font script="Jpan" typeface="ＭＳ Ｐゴシック"/>
        <a:font script="Hang" typeface="HY견고딕"/>
        <a:font script="Hans" typeface="微软雅黑"/>
        <a:font script="Hant" typeface="微軟正黑體"/>
        <a:font script="Arab" typeface="Tahoma"/>
        <a:font script="Hebr" typeface="Tahoma"/>
        <a:font script="Thai" typeface="Tahoma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rtlCol="0" anchor="ctr"/>
      <a:lstStyle>
        <a:defPPr algn="ctr">
          <a:defRPr sz="1200" dirty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noAutofit/>
      </a:bodyPr>
      <a:lstStyle>
        <a:defPPr algn="l">
          <a:defRPr sz="1200" b="0" dirty="0" smtClean="0">
            <a:solidFill>
              <a:srgbClr val="333333"/>
            </a:solidFill>
            <a:latin typeface="+mn-lt"/>
            <a:cs typeface="Arial" panose="020B0604020202020204" pitchFamily="34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1_Тема по умолчанию">
  <a:themeElements>
    <a:clrScheme name="Прагматик">
      <a:dk1>
        <a:srgbClr val="333333"/>
      </a:dk1>
      <a:lt1>
        <a:sysClr val="window" lastClr="FFFFFF"/>
      </a:lt1>
      <a:dk2>
        <a:srgbClr val="717171"/>
      </a:dk2>
      <a:lt2>
        <a:srgbClr val="FFFFFF"/>
      </a:lt2>
      <a:accent1>
        <a:srgbClr val="95C11F"/>
      </a:accent1>
      <a:accent2>
        <a:srgbClr val="395175"/>
      </a:accent2>
      <a:accent3>
        <a:srgbClr val="FF9966"/>
      </a:accent3>
      <a:accent4>
        <a:srgbClr val="B15661"/>
      </a:accent4>
      <a:accent5>
        <a:srgbClr val="CACACA"/>
      </a:accent5>
      <a:accent6>
        <a:srgbClr val="FF9999"/>
      </a:accent6>
      <a:hlink>
        <a:srgbClr val="003366"/>
      </a:hlink>
      <a:folHlink>
        <a:srgbClr val="99CCFF"/>
      </a:folHlink>
    </a:clrScheme>
    <a:fontScheme name="Важная">
      <a:majorFont>
        <a:latin typeface="Arial Black"/>
        <a:ea typeface=""/>
        <a:cs typeface=""/>
        <a:font script="Jpan" typeface="ＭＳ Ｐゴシック"/>
        <a:font script="Hang" typeface="HY견고딕"/>
        <a:font script="Hans" typeface="微软雅黑"/>
        <a:font script="Hant" typeface="微軟正黑體"/>
        <a:font script="Arab" typeface="Tahoma"/>
        <a:font script="Hebr" typeface="Tahoma"/>
        <a:font script="Thai" typeface="Tahoma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rtlCol="0" anchor="ctr"/>
      <a:lstStyle>
        <a:defPPr algn="ctr">
          <a:defRPr sz="1200" dirty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noAutofit/>
      </a:bodyPr>
      <a:lstStyle>
        <a:defPPr algn="l">
          <a:defRPr sz="1200" b="0" dirty="0" smtClean="0">
            <a:solidFill>
              <a:srgbClr val="333333"/>
            </a:solidFill>
            <a:latin typeface="+mn-lt"/>
            <a:cs typeface="Arial" panose="020B0604020202020204" pitchFamily="34" charset="0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805</TotalTime>
  <Words>1884</Words>
  <Application>Microsoft Office PowerPoint</Application>
  <PresentationFormat>Произвольный</PresentationFormat>
  <Paragraphs>581</Paragraphs>
  <Slides>22</Slides>
  <Notes>8</Notes>
  <HiddenSlides>1</HiddenSlides>
  <MMClips>0</MMClips>
  <ScaleCrop>false</ScaleCrop>
  <HeadingPairs>
    <vt:vector size="8" baseType="variant">
      <vt:variant>
        <vt:lpstr>Использованные шрифты</vt:lpstr>
      </vt:variant>
      <vt:variant>
        <vt:i4>12</vt:i4>
      </vt:variant>
      <vt:variant>
        <vt:lpstr>Тема</vt:lpstr>
      </vt:variant>
      <vt:variant>
        <vt:i4>7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22</vt:i4>
      </vt:variant>
    </vt:vector>
  </HeadingPairs>
  <TitlesOfParts>
    <vt:vector size="43" baseType="lpstr">
      <vt:lpstr>Arial</vt:lpstr>
      <vt:lpstr>Arial Black</vt:lpstr>
      <vt:lpstr>Arial Narrow</vt:lpstr>
      <vt:lpstr>Calibri</vt:lpstr>
      <vt:lpstr>Calibri Light</vt:lpstr>
      <vt:lpstr>Gilroy</vt:lpstr>
      <vt:lpstr>Gotham Pro</vt:lpstr>
      <vt:lpstr>Myriad Arabic</vt:lpstr>
      <vt:lpstr>Myriad Pro</vt:lpstr>
      <vt:lpstr>Myriad Pro Light</vt:lpstr>
      <vt:lpstr>PT Serif</vt:lpstr>
      <vt:lpstr>Times New Roman</vt:lpstr>
      <vt:lpstr>Office Theme</vt:lpstr>
      <vt:lpstr>Тема Office</vt:lpstr>
      <vt:lpstr>2_Тема Office</vt:lpstr>
      <vt:lpstr>1_Тема Office</vt:lpstr>
      <vt:lpstr>Тема по умолчанию</vt:lpstr>
      <vt:lpstr>1_Тема по умолчанию</vt:lpstr>
      <vt:lpstr>1_Office Theme</vt:lpstr>
      <vt:lpstr>Acrobat Document</vt:lpstr>
      <vt:lpstr>Слайд think-cell</vt:lpstr>
      <vt:lpstr>Презентация PowerPoint</vt:lpstr>
      <vt:lpstr>Презентация PowerPoint</vt:lpstr>
      <vt:lpstr>ИНТЕРФЕЙС РАЗВИТИЯ СИСТЕМЫ КВАЛИФИКАЦИЙ В НАНОИНДУСТРИ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ТЕХНОЛОГИЧЕСКИЕ РЕШЕНИЯ. КЕЙСЫ</vt:lpstr>
      <vt:lpstr>КОМПОНЕНТЫ МКО</vt:lpstr>
      <vt:lpstr>Презентация PowerPoint</vt:lpstr>
      <vt:lpstr>Презентация PowerPoint</vt:lpstr>
      <vt:lpstr>ПОТЕНЦИАЛЬНЫЕ ПОЛЬЗОВАТЕЛИ ПРОЕКТА</vt:lpstr>
      <vt:lpstr>ОСНОВНЫЕ ПРОДУКТЫ МКО</vt:lpstr>
      <vt:lpstr>Презентация PowerPoint</vt:lpstr>
      <vt:lpstr>Презентация PowerPoint</vt:lpstr>
      <vt:lpstr>Потребность в опережающих квалификациях обусловлена развитием технологий и рыночными запросами</vt:lpstr>
      <vt:lpstr>Оценка уровня научных исследований по перспективным технологиям в мире и в России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Инфографика МКО _ 1 этап.cdr</dc:title>
  <dc:creator>Ложникова М.А</dc:creator>
  <cp:lastModifiedBy>анжелика анжелика</cp:lastModifiedBy>
  <cp:revision>209</cp:revision>
  <cp:lastPrinted>2020-02-13T12:50:10Z</cp:lastPrinted>
  <dcterms:created xsi:type="dcterms:W3CDTF">2019-10-16T03:56:57Z</dcterms:created>
  <dcterms:modified xsi:type="dcterms:W3CDTF">2020-12-23T13:56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9-10-16T00:00:00Z</vt:filetime>
  </property>
  <property fmtid="{D5CDD505-2E9C-101B-9397-08002B2CF9AE}" pid="3" name="LastSaved">
    <vt:filetime>2019-10-16T00:00:00Z</vt:filetime>
  </property>
</Properties>
</file>